
<file path=[Content_Types].xml><?xml version="1.0" encoding="utf-8"?>
<Types xmlns="http://schemas.openxmlformats.org/package/2006/content-types">
  <Default Extension="bin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media/image7.bin" ContentType="image/png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.xml" ContentType="application/vnd.openxmlformats-officedocument.presentationml.notesSlide+xml"/>
  <Override PartName="/ppt/media/image9.bin" ContentType="image/png"/>
  <Override PartName="/ppt/media/image10.bin" ContentType="image/png"/>
  <Override PartName="/ppt/media/image11.bin" ContentType="image/png"/>
  <Override PartName="/ppt/media/image12.bin" ContentType="image/png"/>
  <Override PartName="/ppt/media/image13.bin" ContentType="image/png"/>
  <Override PartName="/ppt/media/image14.bin" ContentType="image/png"/>
  <Override PartName="/ppt/media/image15.bin" ContentType="image/png"/>
  <Override PartName="/ppt/media/image16.bin" ContentType="image/png"/>
  <Override PartName="/ppt/media/image17.bin" ContentType="image/png"/>
  <Override PartName="/ppt/media/image18.bin" ContentType="image/png"/>
  <Override PartName="/ppt/tags/tag38.xml" ContentType="application/vnd.openxmlformats-officedocument.presentationml.tags+xml"/>
  <Override PartName="/ppt/notesSlides/notesSlide2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4.xml" ContentType="application/vnd.openxmlformats-officedocument.presentationml.notesSlide+xml"/>
  <Override PartName="/ppt/media/image20.bin" ContentType="image/svg+xml"/>
  <Override PartName="/ppt/media/image22.bin" ContentType="image/svg+xml"/>
  <Override PartName="/ppt/media/image24.bin" ContentType="image/svg+xml"/>
  <Override PartName="/ppt/media/image26.bin" ContentType="image/svg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5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6.xml" ContentType="application/vnd.openxmlformats-officedocument.presentationml.notesSlide+xml"/>
  <Override PartName="/ppt/media/image27.bin" ContentType="image/png"/>
  <Override PartName="/ppt/media/image28.bin" ContentType="image/png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7.xml" ContentType="application/vnd.openxmlformats-officedocument.presentationml.notesSlide+xml"/>
  <Override PartName="/ppt/media/image29.bin" ContentType="image/png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8.xml" ContentType="application/vnd.openxmlformats-officedocument.presentationml.notesSlide+xml"/>
  <Override PartName="/ppt/media/image30.bin" ContentType="image/png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9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10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11.xml" ContentType="application/vnd.openxmlformats-officedocument.presentationml.notesSlide+xml"/>
  <Override PartName="/ppt/media/image31.bin" ContentType="image/png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09" r:id="rId5"/>
    <p:sldMasterId id="2147483770" r:id="rId6"/>
  </p:sldMasterIdLst>
  <p:notesMasterIdLst>
    <p:notesMasterId r:id="rId20"/>
  </p:notesMasterIdLst>
  <p:handoutMasterIdLst>
    <p:handoutMasterId r:id="rId21"/>
  </p:handoutMasterIdLst>
  <p:sldIdLst>
    <p:sldId id="256" r:id="rId7"/>
    <p:sldId id="257" r:id="rId8"/>
    <p:sldId id="258" r:id="rId9"/>
    <p:sldId id="259" r:id="rId10"/>
    <p:sldId id="260" r:id="rId11"/>
    <p:sldId id="261" r:id="rId12"/>
    <p:sldId id="262" r:id="rId13"/>
    <p:sldId id="263" r:id="rId14"/>
    <p:sldId id="264" r:id="rId15"/>
    <p:sldId id="265" r:id="rId16"/>
    <p:sldId id="266" r:id="rId17"/>
    <p:sldId id="267" r:id="rId18"/>
    <p:sldId id="268" r:id="rId19"/>
  </p:sldIdLst>
  <p:sldSz cx="12192000" cy="6858000"/>
  <p:notesSz cx="6858000" cy="9144000"/>
  <p:custDataLst>
    <p:tags r:id="rId22"/>
  </p:custDataLst>
  <p:defaultTextStyle>
    <a:defPPr>
      <a:defRPr lang="en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7CD0904-4C35-D9DA-1D6C-C9888E58C9E4}" name="Tobias Maurer" initials="TM" userId="S::tobias.maurer@empowersuite.com::a253338d-9e07-4eb6-8a12-79734527286b" providerId="AD"/>
  <p188:author id="{9F55CE07-769A-1086-3408-4FA351695EA5}" name="Veronika Philipp" initials="VP" userId="S::veronika.philipp@empowersuite.com::43d3d555-6964-41ea-ab86-58ed21a37505" providerId="AD"/>
  <p188:author id="{DBF1C326-D23C-2389-B43D-A03793E379AD}" name="Stephan Kuhnert" initials="SK" userId="S::kuhnert@madeinoffice.com::68b29c7c-a342-4e65-b8db-49002b385efd" providerId="AD"/>
  <p188:author id="{1C671C58-AD34-F9C2-3F93-477E1F193BA0}" name="Teresa Almeida" initials="TA" userId="S::t.almeida@intobranding.com::cd7c3afa-cdcd-475c-b8a4-fdba6743df0e" providerId="AD"/>
  <p188:author id="{1410AB71-70F4-CF05-1E4D-3DB39BC957BE}" name="Victor Rodriguez" initials="VR" userId="S::victor.rodriguez@empowersuite.com::82000292-0f18-46b2-8284-5477234394e1" providerId="AD"/>
  <p188:author id="{389C8A76-7CB6-C044-0285-41143982D9ED}" name="Stephan Kuhnert" initials="SK" userId="S::stephan.kuhnert@empowersuite.com::68b29c7c-a342-4e65-b8db-49002b385efd" providerId="AD"/>
  <p188:author id="{65282787-7CD5-5633-B9F2-6B12AED6D2C0}" name="Jason Pugliese" initials="JP" userId="S::jason.pugliese@empowersuite.com::b7d8c6ba-5d1b-43e5-b079-5e81fa9a7c71" providerId="AD"/>
  <p188:author id="{BEBA108A-4D97-79B3-8102-AC0DFCFDA706}" name="Felix Brüning" initials="FB" userId="S::bruening@madeinoffice.com::d67efc62-7a71-4b67-a68a-7bf1f6770d2d" providerId="AD"/>
  <p188:author id="{CD8171B9-0FE0-9DFE-C58C-166D1E5A36F8}" name="Carina Geueke" initials="CG" userId="S::carina.geueke@empowersuite.com::e1f28b6f-921f-4a05-ab99-25afd8a48fe8" providerId="AD"/>
  <p188:author id="{330869BB-BA29-B8DE-4DF0-080443501EAD}" name="Patrick Schumacher" initials="PS" userId="S::patrick.schumacher@empowersuite.com::6304d65a-88ea-4ac1-89ec-ec54f1e9e3d9" providerId="AD"/>
  <p188:author id="{0114B9CC-2A3A-6D64-33D4-14C6F453DE00}" name="Felix Brüning" initials="FB" userId="S::felix.bruening@empowersuite.com::d67efc62-7a71-4b67-a68a-7bf1f6770d2d" providerId="AD"/>
  <p188:author id="{309B34DB-08A1-09CE-186C-AB6824AA80E8}" name="Tom Becker" initials="TB" userId="S::tom.becker@empowersuite.com::036bc710-0288-413e-8ea2-8f2991de5161" providerId="AD"/>
  <p188:author id="{2AC3B2DB-8986-147A-5CBE-71A22718AAE6}" name="Ekaterina Osmanovich" initials="EO" userId="S::ekaterina.osmanovich@empowersuite.com::c9a63af0-aed6-4087-ad8e-fc02fb3fc61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DCDC"/>
    <a:srgbClr val="0066FF"/>
    <a:srgbClr val="0099FF"/>
    <a:srgbClr val="FF9900"/>
    <a:srgbClr val="538FFF"/>
    <a:srgbClr val="FFFFFF"/>
    <a:srgbClr val="006018"/>
    <a:srgbClr val="EDFCFF"/>
    <a:srgbClr val="E7EDF2"/>
    <a:srgbClr val="3C3C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7" autoAdjust="0"/>
    <p:restoredTop sz="95039" autoAdjust="0"/>
  </p:normalViewPr>
  <p:slideViewPr>
    <p:cSldViewPr snapToGrid="0">
      <p:cViewPr varScale="1">
        <p:scale>
          <a:sx n="68" d="100"/>
          <a:sy n="68" d="100"/>
        </p:scale>
        <p:origin x="951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2" d="100"/>
          <a:sy n="62" d="100"/>
        </p:scale>
        <p:origin x="3900" y="5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orgina Manzi" userId="0f48cb9c-dcef-456a-af92-5a9ee208de37" providerId="ADAL" clId="{A804FEC6-17B9-4951-914B-980FDB3EE5FE}"/>
    <pc:docChg chg="custSel modSld">
      <pc:chgData name="Georgina Manzi" userId="0f48cb9c-dcef-456a-af92-5a9ee208de37" providerId="ADAL" clId="{A804FEC6-17B9-4951-914B-980FDB3EE5FE}" dt="2025-08-19T11:31:59.978" v="0" actId="478"/>
      <pc:docMkLst>
        <pc:docMk/>
      </pc:docMkLst>
      <pc:sldChg chg="delSp mod">
        <pc:chgData name="Georgina Manzi" userId="0f48cb9c-dcef-456a-af92-5a9ee208de37" providerId="ADAL" clId="{A804FEC6-17B9-4951-914B-980FDB3EE5FE}" dt="2025-08-19T11:31:59.978" v="0" actId="478"/>
        <pc:sldMkLst>
          <pc:docMk/>
          <pc:sldMk cId="3286752918" sldId="256"/>
        </pc:sldMkLst>
        <pc:picChg chg="del">
          <ac:chgData name="Georgina Manzi" userId="0f48cb9c-dcef-456a-af92-5a9ee208de37" providerId="ADAL" clId="{A804FEC6-17B9-4951-914B-980FDB3EE5FE}" dt="2025-08-19T11:31:59.978" v="0" actId="478"/>
          <ac:picMkLst>
            <pc:docMk/>
            <pc:sldMk cId="3286752918" sldId="256"/>
            <ac:picMk id="8" creationId="{AE3526FD-6FCE-BBD2-C0C8-CBEFB1A85660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70DEE77-3A2C-1A5F-4A73-1A81D91C3A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E05A0C-FA7D-17B8-5714-56165F4A582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1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19A266-3641-4B2B-BFEC-ECA075DC6FCF}" type="datetimeFigureOut">
              <a:rPr lang="en-US"/>
              <a:t>8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2DC5C1-C1E6-FFCB-1BE1-F28DB32374C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FC9A87-E450-A871-1343-90496D05DC1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5222B2-ED84-4058-B09E-370F9A4261BE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299830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 Semilight" panose="020B0402040204020203" pitchFamily="34" charset="0"/>
              </a:defRPr>
            </a:lvl1pPr>
          </a:lstStyle>
          <a:p>
            <a:endParaRPr lang="en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1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 Semilight" panose="020B0402040204020203" pitchFamily="34" charset="0"/>
              </a:defRPr>
            </a:lvl1pPr>
          </a:lstStyle>
          <a:p>
            <a:fld id="{922067A9-F686-F844-8EA3-D4DA87835F33}" type="datetimeFigureOut">
              <a:rPr lang="en-PT"/>
              <a:pPr/>
              <a:t>08/19/2025</a:t>
            </a:fld>
            <a:endParaRPr lang="en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85900" y="616057"/>
            <a:ext cx="3436749" cy="1933171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2706497"/>
            <a:ext cx="5486400" cy="529450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P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egoe UI Semilight" panose="020B0402040204020203" pitchFamily="34" charset="0"/>
              </a:defRPr>
            </a:lvl1pPr>
          </a:lstStyle>
          <a:p>
            <a:endParaRPr lang="en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 Semilight" panose="020B0402040204020203" pitchFamily="34" charset="0"/>
              </a:defRPr>
            </a:lvl1pPr>
          </a:lstStyle>
          <a:p>
            <a:fld id="{500824F8-5313-0C4C-8B10-6D0C2CC92225}" type="slidenum">
              <a:rPr lang="en-PT"/>
              <a:pPr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8465215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1" kern="1200">
        <a:solidFill>
          <a:schemeClr val="tx1"/>
        </a:solidFill>
        <a:latin typeface="Segoe UI Semilight" panose="020B0402040204020203" pitchFamily="34" charset="0"/>
        <a:ea typeface="+mn-ea"/>
        <a:cs typeface="+mn-cs"/>
      </a:defRPr>
    </a:lvl1pPr>
    <a:lvl2pPr marL="0" algn="l" defTabSz="914400" rtl="0" eaLnBrk="1" latinLnBrk="0" hangingPunct="1">
      <a:defRPr sz="1200" kern="1200">
        <a:solidFill>
          <a:schemeClr val="tx1"/>
        </a:solidFill>
        <a:latin typeface="Segoe UI Semilight" panose="020B0402040204020203" pitchFamily="34" charset="0"/>
        <a:ea typeface="+mn-ea"/>
        <a:cs typeface="+mn-cs"/>
      </a:defRPr>
    </a:lvl2pPr>
    <a:lvl3pPr marL="180000" indent="-18000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Segoe UI Semilight" panose="020B0402040204020203" pitchFamily="34" charset="0"/>
        <a:ea typeface="+mn-ea"/>
        <a:cs typeface="+mn-cs"/>
      </a:defRPr>
    </a:lvl3pPr>
    <a:lvl4pPr marL="360000" indent="-180000" algn="l" defTabSz="914400" rtl="0" eaLnBrk="1" latinLnBrk="0" hangingPunct="1">
      <a:buFont typeface="Segoe UI Semilight" panose="020B0402040204020203" pitchFamily="34" charset="0"/>
      <a:buChar char="–"/>
      <a:defRPr sz="1200" kern="1200">
        <a:solidFill>
          <a:schemeClr val="tx1"/>
        </a:solidFill>
        <a:latin typeface="Segoe UI Semilight" panose="020B0402040204020203" pitchFamily="34" charset="0"/>
        <a:ea typeface="+mn-ea"/>
        <a:cs typeface="+mn-cs"/>
      </a:defRPr>
    </a:lvl4pPr>
    <a:lvl5pPr marL="0" algn="l" defTabSz="914400" rtl="0" eaLnBrk="1" latinLnBrk="0" hangingPunct="1">
      <a:defRPr sz="1200" kern="1200">
        <a:solidFill>
          <a:schemeClr val="tx1"/>
        </a:solidFill>
        <a:latin typeface="Segoe UI Semilight" panose="020B040204020402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85900" y="615950"/>
            <a:ext cx="3436938" cy="1933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0824F8-5313-0C4C-8B10-6D0C2CC92225}" type="slidenum">
              <a:rPr lang="en-US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61791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0824F8-5313-0C4C-8B10-6D0C2CC92225}" type="slidenum">
              <a:rPr lang="en-US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3623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85900" y="615950"/>
            <a:ext cx="3436938" cy="1933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0824F8-5313-0C4C-8B10-6D0C2CC92225}" type="slidenum">
              <a:rPr lang="en-US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2564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85900" y="615950"/>
            <a:ext cx="3436938" cy="1933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0824F8-5313-0C4C-8B10-6D0C2CC92225}" type="slidenum">
              <a:rPr lang="en-US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9738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61DB02-B89B-5CA5-3601-79858E6DAB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43A516-D93A-97ED-CFB1-23A417636F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85900" y="615950"/>
            <a:ext cx="3436938" cy="19335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D8CE599-4B1F-59BB-9B70-88CB453D33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0559C8-99B9-6EA3-4F55-865658CCE2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0824F8-5313-0C4C-8B10-6D0C2CC92225}" type="slidenum">
              <a:rPr lang="en-US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38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A96CDC-1762-C5AC-1696-6935B561E5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6ED8F1-0B66-A813-E431-940B0D5DBB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8D999E5-2735-0F6C-0B2A-612E34D65C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4D8CFD-5DA5-2D3B-9DF6-C08B7523935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6509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85900" y="615950"/>
            <a:ext cx="3436938" cy="1933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200" b="1" dirty="0">
                <a:solidFill>
                  <a:schemeClr val="bg1"/>
                </a:solidFill>
                <a:latin typeface="+mj-lt"/>
              </a:rPr>
              <a:t>Multiple template options</a:t>
            </a:r>
          </a:p>
          <a:p>
            <a:pPr lvl="1" algn="l"/>
            <a:r>
              <a:rPr lang="en-US" sz="1200" dirty="0">
                <a:solidFill>
                  <a:schemeClr val="bg1"/>
                </a:solidFill>
                <a:latin typeface="Segoe UI Semilight" panose="020B0402040204020203" pitchFamily="34" charset="0"/>
              </a:rPr>
              <a:t>To support sub-brands and variants </a:t>
            </a:r>
          </a:p>
          <a:p>
            <a:pPr algn="l"/>
            <a:endParaRPr lang="en-US" sz="1200" dirty="0">
              <a:solidFill>
                <a:schemeClr val="bg1"/>
              </a:solidFill>
              <a:latin typeface="Segoe UI Semilight" panose="020B0402040204020203" pitchFamily="34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latin typeface="+mj-lt"/>
              </a:rPr>
              <a:t>Accessible directly in PowerPoint</a:t>
            </a:r>
          </a:p>
          <a:p>
            <a:pPr lvl="1" algn="l"/>
            <a:r>
              <a:rPr lang="en-US" sz="1200" dirty="0">
                <a:solidFill>
                  <a:schemeClr val="bg1"/>
                </a:solidFill>
                <a:latin typeface="Segoe UI Semilight" panose="020B0402040204020203" pitchFamily="34" charset="0"/>
              </a:rPr>
              <a:t>Easy to distribute and update, also incudes version history</a:t>
            </a:r>
          </a:p>
          <a:p>
            <a:pPr algn="l"/>
            <a:endParaRPr lang="en-US" sz="1200" dirty="0">
              <a:solidFill>
                <a:schemeClr val="bg1"/>
              </a:solidFill>
              <a:latin typeface="Segoe UI Semilight" panose="020B0402040204020203" pitchFamily="34" charset="0"/>
            </a:endParaRPr>
          </a:p>
          <a:p>
            <a:pPr lvl="0" algn="l"/>
            <a:r>
              <a:rPr lang="en-GB" sz="1200" dirty="0">
                <a:solidFill>
                  <a:schemeClr val="bg1"/>
                </a:solidFill>
                <a:latin typeface="Segoe UI Semilight" panose="020B0402040204020203" pitchFamily="34" charset="0"/>
              </a:rPr>
              <a:t>Folder structure and permission model</a:t>
            </a:r>
          </a:p>
          <a:p>
            <a:pPr lvl="1" algn="l"/>
            <a:r>
              <a:rPr lang="en-GB" sz="1200" dirty="0">
                <a:solidFill>
                  <a:schemeClr val="bg1"/>
                </a:solidFill>
                <a:latin typeface="Segoe UI Semilight" panose="020B0402040204020203" pitchFamily="34" charset="0"/>
              </a:rPr>
              <a:t>Allows user-specific access to templates</a:t>
            </a:r>
          </a:p>
          <a:p>
            <a:pPr algn="l"/>
            <a:endParaRPr lang="en-US" sz="1200" dirty="0">
              <a:solidFill>
                <a:schemeClr val="bg1"/>
              </a:solidFill>
              <a:latin typeface="Segoe UI Semilight" panose="020B0402040204020203" pitchFamily="34" charset="0"/>
            </a:endParaRPr>
          </a:p>
          <a:p>
            <a:pPr algn="l"/>
            <a:r>
              <a:rPr lang="en-GB" sz="1200" dirty="0">
                <a:solidFill>
                  <a:schemeClr val="bg1"/>
                </a:solidFill>
                <a:latin typeface="Segoe UI Semilight" panose="020B0402040204020203" pitchFamily="34" charset="0"/>
              </a:rPr>
              <a:t>Default template, launches as you open PowerPoint</a:t>
            </a:r>
          </a:p>
          <a:p>
            <a:pPr lvl="1" algn="l"/>
            <a:r>
              <a:rPr lang="en-GB" sz="1200" dirty="0">
                <a:solidFill>
                  <a:schemeClr val="bg1"/>
                </a:solidFill>
                <a:latin typeface="Segoe UI Semilight" panose="020B0402040204020203" pitchFamily="34" charset="0"/>
              </a:rPr>
              <a:t>Set your most used template as your default (and can be changed as required by users)</a:t>
            </a:r>
          </a:p>
          <a:p>
            <a:pPr algn="l"/>
            <a:endParaRPr lang="en-US" sz="1200" dirty="0">
              <a:solidFill>
                <a:schemeClr val="bg1"/>
              </a:solidFill>
              <a:latin typeface="Segoe UI Semilight" panose="020B0402040204020203" pitchFamily="34" charset="0"/>
            </a:endParaRPr>
          </a:p>
          <a:p>
            <a:pPr algn="l"/>
            <a:r>
              <a:rPr lang="en-GB" sz="1200" dirty="0">
                <a:solidFill>
                  <a:schemeClr val="bg1"/>
                </a:solidFill>
                <a:latin typeface="Segoe UI Semilight" panose="020B0402040204020203" pitchFamily="34" charset="0"/>
              </a:rPr>
              <a:t>Easy to update and distribute</a:t>
            </a:r>
          </a:p>
          <a:p>
            <a:pPr lvl="1" algn="l"/>
            <a:r>
              <a:rPr lang="en-GB" sz="1200" dirty="0">
                <a:solidFill>
                  <a:schemeClr val="bg1"/>
                </a:solidFill>
                <a:latin typeface="Segoe UI Semilight" panose="020B0402040204020203" pitchFamily="34" charset="0"/>
              </a:rPr>
              <a:t>Email us your new version to upload and users will automatically have access to the new template</a:t>
            </a:r>
          </a:p>
          <a:p>
            <a:pPr algn="l"/>
            <a:endParaRPr lang="en-US" sz="1200" dirty="0">
              <a:solidFill>
                <a:schemeClr val="bg1"/>
              </a:solidFill>
              <a:latin typeface="Segoe UI Semilight" panose="020B0402040204020203" pitchFamily="34" charset="0"/>
            </a:endParaRPr>
          </a:p>
          <a:p>
            <a:pPr algn="l"/>
            <a:endParaRPr lang="en-US" sz="1200" dirty="0">
              <a:solidFill>
                <a:schemeClr val="bg1"/>
              </a:solidFill>
              <a:latin typeface="Segoe UI Semilight" panose="020B0402040204020203" pitchFamily="34" charset="0"/>
            </a:endParaRPr>
          </a:p>
          <a:p>
            <a:pPr algn="l"/>
            <a:endParaRPr lang="en-US" sz="1200" dirty="0">
              <a:solidFill>
                <a:schemeClr val="bg1"/>
              </a:solidFill>
              <a:latin typeface="Segoe UI Semilight" panose="020B0402040204020203" pitchFamily="34" charset="0"/>
            </a:endParaRPr>
          </a:p>
          <a:p>
            <a:pPr algn="l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0824F8-5313-0C4C-8B10-6D0C2CC92225}" type="slidenum">
              <a:rPr lang="en-US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7204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85900" y="615950"/>
            <a:ext cx="3436938" cy="1933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0824F8-5313-0C4C-8B10-6D0C2CC92225}" type="slidenum">
              <a:rPr lang="en-US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3445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85900" y="615950"/>
            <a:ext cx="3436938" cy="1933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GB" dirty="0"/>
              <a:t>All </a:t>
            </a:r>
            <a:r>
              <a:rPr lang="en-GB" dirty="0">
                <a:solidFill>
                  <a:schemeClr val="accent4"/>
                </a:solidFill>
              </a:rPr>
              <a:t>accessible directly </a:t>
            </a:r>
            <a:r>
              <a:rPr lang="en-GB" dirty="0"/>
              <a:t>in PowerPoint (incl. versions)</a:t>
            </a:r>
          </a:p>
          <a:p>
            <a:pPr lvl="1"/>
            <a:r>
              <a:rPr lang="en-GB" dirty="0"/>
              <a:t>Can be organized by </a:t>
            </a:r>
            <a:r>
              <a:rPr lang="en-GB" dirty="0">
                <a:solidFill>
                  <a:schemeClr val="accent4"/>
                </a:solidFill>
              </a:rPr>
              <a:t>folder structure </a:t>
            </a:r>
            <a:r>
              <a:rPr lang="en-GB" dirty="0"/>
              <a:t>and </a:t>
            </a:r>
            <a:br>
              <a:rPr lang="en-GB" dirty="0"/>
            </a:br>
            <a:r>
              <a:rPr lang="en-GB" dirty="0"/>
              <a:t>permissioned to allow </a:t>
            </a:r>
            <a:r>
              <a:rPr lang="en-GB" dirty="0">
                <a:solidFill>
                  <a:schemeClr val="accent4"/>
                </a:solidFill>
              </a:rPr>
              <a:t>user-specific access </a:t>
            </a:r>
            <a:r>
              <a:rPr lang="en-GB" dirty="0"/>
              <a:t>to content</a:t>
            </a:r>
          </a:p>
          <a:p>
            <a:pPr lvl="2"/>
            <a:r>
              <a:rPr lang="en-GB" dirty="0"/>
              <a:t>Can create a </a:t>
            </a:r>
            <a:r>
              <a:rPr lang="en-GB" dirty="0">
                <a:solidFill>
                  <a:schemeClr val="accent4"/>
                </a:solidFill>
              </a:rPr>
              <a:t>library of objects, slide layouts and </a:t>
            </a:r>
            <a:br>
              <a:rPr lang="en-GB" dirty="0">
                <a:solidFill>
                  <a:schemeClr val="accent4"/>
                </a:solidFill>
              </a:rPr>
            </a:br>
            <a:r>
              <a:rPr lang="en-GB" dirty="0">
                <a:solidFill>
                  <a:schemeClr val="accent4"/>
                </a:solidFill>
              </a:rPr>
              <a:t>approved content and collateral</a:t>
            </a:r>
          </a:p>
          <a:p>
            <a:pPr lvl="2"/>
            <a:r>
              <a:rPr lang="en-GB" dirty="0"/>
              <a:t>Can be </a:t>
            </a:r>
            <a:r>
              <a:rPr lang="en-GB" dirty="0">
                <a:solidFill>
                  <a:schemeClr val="accent4"/>
                </a:solidFill>
              </a:rPr>
              <a:t>updated easily </a:t>
            </a:r>
            <a:r>
              <a:rPr lang="en-GB" dirty="0"/>
              <a:t>– instant push out to users</a:t>
            </a:r>
          </a:p>
          <a:p>
            <a:pPr lvl="2"/>
            <a:r>
              <a:rPr lang="en-GB" dirty="0">
                <a:solidFill>
                  <a:schemeClr val="accent4"/>
                </a:solidFill>
              </a:rPr>
              <a:t>Easy to upload </a:t>
            </a:r>
            <a:r>
              <a:rPr lang="en-GB" dirty="0"/>
              <a:t>and create your library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0824F8-5313-0C4C-8B10-6D0C2CC92225}" type="slidenum">
              <a:rPr lang="en-US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7222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85900" y="615950"/>
            <a:ext cx="3436938" cy="1933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0824F8-5313-0C4C-8B10-6D0C2CC92225}" type="slidenum">
              <a:rPr lang="en-US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2505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85900" y="615950"/>
            <a:ext cx="3436938" cy="1933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24455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7.bin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bin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7.bin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bin"/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7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bin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quiggle">
            <a:extLst>
              <a:ext uri="{FF2B5EF4-FFF2-40B4-BE49-F238E27FC236}">
                <a16:creationId xmlns:a16="http://schemas.microsoft.com/office/drawing/2014/main" id="{463F5D0C-65C5-086F-4E60-1F0A660F42B5}"/>
              </a:ext>
            </a:extLst>
          </p:cNvPr>
          <p:cNvSpPr/>
          <p:nvPr/>
        </p:nvSpPr>
        <p:spPr>
          <a:xfrm rot="4430537">
            <a:off x="2406828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15000">
                <a:srgbClr val="01326E"/>
              </a:gs>
              <a:gs pos="30000">
                <a:srgbClr val="063878"/>
              </a:gs>
              <a:gs pos="78000">
                <a:srgbClr val="0F4287"/>
              </a:gs>
            </a:gsLst>
            <a:lin ang="15000009" scaled="1"/>
          </a:gra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Blue Box Shape">
            <a:extLst>
              <a:ext uri="{FF2B5EF4-FFF2-40B4-BE49-F238E27FC236}">
                <a16:creationId xmlns:a16="http://schemas.microsoft.com/office/drawing/2014/main" id="{76823654-0DEA-9800-76C1-EB05AC4A18AE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baseline="0">
              <a:solidFill>
                <a:schemeClr val="tx1"/>
              </a:solidFill>
            </a:endParaRP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F9D5D955-DB32-6A5C-C407-2B252C3BFE21}"/>
              </a:ext>
            </a:extLst>
          </p:cNvPr>
          <p:cNvSpPr/>
          <p:nvPr/>
        </p:nvSpPr>
        <p:spPr bwMode="black">
          <a:xfrm>
            <a:off x="9211095" y="767924"/>
            <a:ext cx="2442107" cy="660400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BCE12DA5-FA0F-2599-53F7-72C054F2FC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D5EF7968-483B-45DB-96A0-41EC9F5D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tx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129874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a16="http://schemas.microsoft.com/office/drawing/2014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C (Mid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</a:t>
            </a:r>
            <a:br>
              <a:rPr lang="en-GB" noProof="0"/>
            </a:br>
            <a:r>
              <a:rPr lang="en-GB" noProof="0"/>
              <a:t>Master title</a:t>
            </a:r>
            <a:br>
              <a:rPr lang="en-GB" noProof="0"/>
            </a:br>
            <a:r>
              <a:rPr lang="en-GB" noProof="0"/>
              <a:t>style</a:t>
            </a:r>
            <a:endParaRPr lang="de-DE" noProof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232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Left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box shadow 15.4cm">
            <a:extLst>
              <a:ext uri="{FF2B5EF4-FFF2-40B4-BE49-F238E27FC236}">
                <a16:creationId xmlns:a16="http://schemas.microsoft.com/office/drawing/2014/main" id="{71AA9E56-2169-4EE4-DECA-A5FE2400A7DC}"/>
              </a:ext>
            </a:extLst>
          </p:cNvPr>
          <p:cNvSpPr>
            <a:spLocks/>
          </p:cNvSpPr>
          <p:nvPr/>
        </p:nvSpPr>
        <p:spPr>
          <a:xfrm>
            <a:off x="550800" y="1701000"/>
            <a:ext cx="5545200" cy="3456000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sz="1800"/>
          </a:p>
        </p:txBody>
      </p:sp>
      <p:sp>
        <p:nvSpPr>
          <p:cNvPr id="4" name="Title plus Content">
            <a:extLst>
              <a:ext uri="{FF2B5EF4-FFF2-40B4-BE49-F238E27FC236}">
                <a16:creationId xmlns:a16="http://schemas.microsoft.com/office/drawing/2014/main" id="{9AB75B78-866E-BD40-6649-790407DDB03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06062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1994" indent="-251994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3987" indent="-251994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93048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9" userDrawn="1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Left larg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box full half">
            <a:extLst>
              <a:ext uri="{FF2B5EF4-FFF2-40B4-BE49-F238E27FC236}">
                <a16:creationId xmlns:a16="http://schemas.microsoft.com/office/drawing/2014/main" id="{3A8205A9-953F-940D-2D52-F3823977D145}"/>
              </a:ext>
            </a:extLst>
          </p:cNvPr>
          <p:cNvSpPr>
            <a:spLocks/>
          </p:cNvSpPr>
          <p:nvPr userDrawn="1"/>
        </p:nvSpPr>
        <p:spPr>
          <a:xfrm>
            <a:off x="6096000" y="836615"/>
            <a:ext cx="5544000" cy="5184775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sz="1800"/>
          </a:p>
        </p:txBody>
      </p:sp>
      <p:sp>
        <p:nvSpPr>
          <p:cNvPr id="7" name="Title plus Content">
            <a:extLst>
              <a:ext uri="{FF2B5EF4-FFF2-40B4-BE49-F238E27FC236}">
                <a16:creationId xmlns:a16="http://schemas.microsoft.com/office/drawing/2014/main" id="{1D86D189-69EC-D31E-EC4F-AC1670290D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40606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1994" indent="-251994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3987" indent="-251994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19799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3523" userDrawn="1">
          <p15:clr>
            <a:srgbClr val="547EBF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Right larg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box full half">
            <a:extLst>
              <a:ext uri="{FF2B5EF4-FFF2-40B4-BE49-F238E27FC236}">
                <a16:creationId xmlns:a16="http://schemas.microsoft.com/office/drawing/2014/main" id="{CB90E03C-6C50-AE93-C5CE-D641F0B03CFE}"/>
              </a:ext>
            </a:extLst>
          </p:cNvPr>
          <p:cNvSpPr>
            <a:spLocks/>
          </p:cNvSpPr>
          <p:nvPr userDrawn="1"/>
        </p:nvSpPr>
        <p:spPr>
          <a:xfrm>
            <a:off x="550800" y="836615"/>
            <a:ext cx="5545200" cy="5184775"/>
          </a:xfrm>
          <a:prstGeom prst="roundRect">
            <a:avLst>
              <a:gd name="adj" fmla="val 5218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sz="1800"/>
          </a:p>
        </p:txBody>
      </p:sp>
      <p:sp>
        <p:nvSpPr>
          <p:cNvPr id="6" name="Title plus Content">
            <a:extLst>
              <a:ext uri="{FF2B5EF4-FFF2-40B4-BE49-F238E27FC236}">
                <a16:creationId xmlns:a16="http://schemas.microsoft.com/office/drawing/2014/main" id="{B6654FCF-9E23-F30B-D796-174B643B33B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06062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1994" indent="-251994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3987" indent="-251994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13879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4159" userDrawn="1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quiggle">
            <a:extLst>
              <a:ext uri="{FF2B5EF4-FFF2-40B4-BE49-F238E27FC236}">
                <a16:creationId xmlns:a16="http://schemas.microsoft.com/office/drawing/2014/main" id="{A28941CA-3513-CE83-4DDD-76D497F6DC3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325" t="40861" r="22020" b="40196"/>
          <a:stretch/>
        </p:blipFill>
        <p:spPr>
          <a:xfrm>
            <a:off x="-1" y="3207362"/>
            <a:ext cx="7754745" cy="3650638"/>
          </a:xfrm>
          <a:prstGeom prst="rect">
            <a:avLst/>
          </a:prstGeom>
        </p:spPr>
      </p:pic>
      <p:pic>
        <p:nvPicPr>
          <p:cNvPr id="2" name="Laptop">
            <a:extLst>
              <a:ext uri="{FF2B5EF4-FFF2-40B4-BE49-F238E27FC236}">
                <a16:creationId xmlns:a16="http://schemas.microsoft.com/office/drawing/2014/main" id="{673B24E1-9478-7908-545C-1867256DD12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2" t="21192" r="5748" b="22148"/>
          <a:stretch/>
        </p:blipFill>
        <p:spPr>
          <a:xfrm>
            <a:off x="203202" y="990602"/>
            <a:ext cx="7315199" cy="4682233"/>
          </a:xfrm>
          <a:prstGeom prst="rect">
            <a:avLst/>
          </a:prstGeom>
          <a:effectLst>
            <a:outerShdw blurRad="635000" dist="190500" dir="7200000" sx="105000" sy="105000" algn="tl" rotWithShape="0">
              <a:prstClr val="black">
                <a:alpha val="20000"/>
              </a:prstClr>
            </a:outerShdw>
          </a:effectLst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2A86130-EA91-646F-768A-204D64E295D0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1106493" y="1600200"/>
            <a:ext cx="5497507" cy="34544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plus Content">
            <a:extLst>
              <a:ext uri="{FF2B5EF4-FFF2-40B4-BE49-F238E27FC236}">
                <a16:creationId xmlns:a16="http://schemas.microsoft.com/office/drawing/2014/main" id="{EB91291E-44FC-3004-CDB6-BCAC208DA4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85601" y="2052118"/>
            <a:ext cx="3454400" cy="2753767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None/>
              <a:defRPr lang="en-GB" sz="4600" b="1" kern="1200" dirty="0">
                <a:solidFill>
                  <a:schemeClr val="tx2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defRPr>
            </a:lvl1pPr>
            <a:lvl2pPr marL="0" indent="0" algn="l" defTabSz="1219140" rtl="0" eaLnBrk="1" fontAlgn="base" latinLnBrk="0" hangingPunct="1">
              <a:lnSpc>
                <a:spcPct val="13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Segoe UI Semilight" panose="020B0502040204020203" pitchFamily="34" charset="0"/>
                <a:ea typeface="+mn-ea"/>
                <a:cs typeface="Segoe UI Semilight" panose="020B0502040204020203" pitchFamily="34" charset="0"/>
              </a:defRPr>
            </a:lvl2pPr>
            <a:lvl3pPr marL="0" indent="0">
              <a:spcBef>
                <a:spcPts val="1200"/>
              </a:spcBef>
              <a:buClrTx/>
              <a:buFontTx/>
              <a:buNone/>
              <a:defRPr>
                <a:solidFill>
                  <a:schemeClr val="tx1"/>
                </a:solidFill>
              </a:defRPr>
            </a:lvl3pPr>
            <a:lvl4pPr marL="251994" indent="-251994">
              <a:spcBef>
                <a:spcPts val="1200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4pPr>
            <a:lvl5pPr marL="537737" indent="-285744">
              <a:spcBef>
                <a:spcPts val="0"/>
              </a:spcBef>
              <a:buFont typeface="Symbol" panose="05050102010706020507" pitchFamily="18" charset="2"/>
              <a:buChar char=""/>
              <a:defRPr sz="1800" b="0" baseline="0"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 marL="0" indent="0">
              <a:buFontTx/>
              <a:buNone/>
              <a:defRPr sz="2000">
                <a:solidFill>
                  <a:schemeClr val="accent2"/>
                </a:solidFill>
              </a:defRPr>
            </a:lvl7pPr>
            <a:lvl8pPr marL="0" indent="0"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41131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re Va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E4CD333-4BF8-EA4E-B7BF-D6560BAAA0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0"/>
            <a:ext cx="4906911" cy="6858000"/>
          </a:xfrm>
          <a:custGeom>
            <a:avLst/>
            <a:gdLst>
              <a:gd name="connsiteX0" fmla="*/ 0 w 9811264"/>
              <a:gd name="connsiteY0" fmla="*/ 0 h 13715999"/>
              <a:gd name="connsiteX1" fmla="*/ 5851617 w 9811264"/>
              <a:gd name="connsiteY1" fmla="*/ 0 h 13715999"/>
              <a:gd name="connsiteX2" fmla="*/ 5997745 w 9811264"/>
              <a:gd name="connsiteY2" fmla="*/ 84022 h 13715999"/>
              <a:gd name="connsiteX3" fmla="*/ 9811264 w 9811264"/>
              <a:gd name="connsiteY3" fmla="*/ 6857999 h 13715999"/>
              <a:gd name="connsiteX4" fmla="*/ 5997745 w 9811264"/>
              <a:gd name="connsiteY4" fmla="*/ 13631976 h 13715999"/>
              <a:gd name="connsiteX5" fmla="*/ 5851615 w 9811264"/>
              <a:gd name="connsiteY5" fmla="*/ 13715999 h 13715999"/>
              <a:gd name="connsiteX6" fmla="*/ 0 w 9811264"/>
              <a:gd name="connsiteY6" fmla="*/ 13715999 h 13715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11264" h="13715999">
                <a:moveTo>
                  <a:pt x="0" y="0"/>
                </a:moveTo>
                <a:lnTo>
                  <a:pt x="5851617" y="0"/>
                </a:lnTo>
                <a:lnTo>
                  <a:pt x="5997745" y="84022"/>
                </a:lnTo>
                <a:cubicBezTo>
                  <a:pt x="8284039" y="1473208"/>
                  <a:pt x="9811264" y="3987253"/>
                  <a:pt x="9811264" y="6857999"/>
                </a:cubicBezTo>
                <a:cubicBezTo>
                  <a:pt x="9811264" y="9728746"/>
                  <a:pt x="8284039" y="12242790"/>
                  <a:pt x="5997745" y="13631976"/>
                </a:cubicBezTo>
                <a:lnTo>
                  <a:pt x="5851615" y="13715999"/>
                </a:lnTo>
                <a:lnTo>
                  <a:pt x="0" y="13715999"/>
                </a:lnTo>
                <a:close/>
              </a:path>
            </a:pathLst>
          </a:custGeom>
          <a:solidFill>
            <a:srgbClr val="EDFCFF"/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Segoe UI Semilight" panose="020B0402040204020203" pitchFamily="34" charset="0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Plus Content">
            <a:extLst>
              <a:ext uri="{FF2B5EF4-FFF2-40B4-BE49-F238E27FC236}">
                <a16:creationId xmlns:a16="http://schemas.microsoft.com/office/drawing/2014/main" id="{C6FD7E38-F2D4-D0B2-674F-A73B7A0E4C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6000" y="2406062"/>
            <a:ext cx="5543749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1994" indent="-251994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3987" indent="-251994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233388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8245A0CA-77D2-4622-AB84-A5AD64AEB2B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269000"/>
            <a:ext cx="6096000" cy="4320000"/>
          </a:xfrm>
          <a:prstGeom prst="rect">
            <a:avLst/>
          </a:prstGeom>
          <a:solidFill>
            <a:srgbClr val="EDFCFF"/>
          </a:solidFill>
        </p:spPr>
        <p:txBody>
          <a:bodyPr bIns="756000" anchor="ctr"/>
          <a:lstStyle>
            <a:lvl1pPr marL="0" indent="0" algn="ctr"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5" name="Title plus Content">
            <a:extLst>
              <a:ext uri="{FF2B5EF4-FFF2-40B4-BE49-F238E27FC236}">
                <a16:creationId xmlns:a16="http://schemas.microsoft.com/office/drawing/2014/main" id="{8CE17E58-CC43-8409-A36C-95B50D3FE3E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40606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1994" indent="-251994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3987" indent="-251994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85183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523" userDrawn="1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e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20266506-7111-89EA-5EFD-A5D40B6D11F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2" y="2845219"/>
            <a:ext cx="8639999" cy="1167564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8800">
                <a:solidFill>
                  <a:schemeClr val="tx2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4pPr>
            <a:lvl5pPr marL="0" indent="0" algn="ctr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4"/>
                </a:solidFill>
                <a:latin typeface="+mj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3"/>
                </a:solidFill>
                <a:latin typeface="+mj-lt"/>
              </a:defRPr>
            </a:lvl8pPr>
            <a:lvl9pPr algn="ctr">
              <a:defRPr sz="4600" b="1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GB" dirty="0"/>
              <a:t>Text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7023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9" userDrawn="1">
          <p15:clr>
            <a:srgbClr val="FBAE40"/>
          </p15:clr>
        </p15:guide>
        <p15:guide id="6" pos="3523" userDrawn="1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e Titl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us Content">
            <a:extLst>
              <a:ext uri="{FF2B5EF4-FFF2-40B4-BE49-F238E27FC236}">
                <a16:creationId xmlns:a16="http://schemas.microsoft.com/office/drawing/2014/main" id="{C5A556B7-0791-621C-816F-9C7E53970E7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2" y="2845219"/>
            <a:ext cx="8639999" cy="1167564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46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88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4pPr>
            <a:lvl5pPr marL="0" indent="0" algn="ctr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n-lt"/>
              </a:defRPr>
            </a:lvl8pPr>
            <a:lvl9pPr algn="ctr">
              <a:defRPr/>
            </a:lvl9pPr>
          </a:lstStyle>
          <a:p>
            <a:pPr lvl="0"/>
            <a:r>
              <a:rPr lang="en-GB" dirty="0"/>
              <a:t>Text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5286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9" userDrawn="1">
          <p15:clr>
            <a:srgbClr val="FBAE40"/>
          </p15:clr>
        </p15:guide>
        <p15:guide id="6" pos="3523" userDrawn="1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e 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4884C31-EC1F-A70F-FF1B-C8B8710346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plus Content">
            <a:extLst>
              <a:ext uri="{FF2B5EF4-FFF2-40B4-BE49-F238E27FC236}">
                <a16:creationId xmlns:a16="http://schemas.microsoft.com/office/drawing/2014/main" id="{77BF0EF0-91A4-5D2D-3D5C-50AC189ACD6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2" y="2845219"/>
            <a:ext cx="8639999" cy="1167564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460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880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4pPr>
            <a:lvl5pPr marL="0" indent="0" algn="ctr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1"/>
                </a:solidFill>
                <a:latin typeface="+mj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3"/>
                </a:solidFill>
                <a:latin typeface="+mj-lt"/>
              </a:defRPr>
            </a:lvl8pPr>
            <a:lvl9pPr algn="ctr">
              <a:defRPr sz="4600" b="1">
                <a:solidFill>
                  <a:schemeClr val="accent4"/>
                </a:solidFill>
                <a:latin typeface="+mj-lt"/>
              </a:defRPr>
            </a:lvl9pPr>
          </a:lstStyle>
          <a:p>
            <a:pPr lvl="0"/>
            <a:r>
              <a:rPr lang="en-GB" dirty="0"/>
              <a:t>Text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901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9" userDrawn="1">
          <p15:clr>
            <a:srgbClr val="FBAE40"/>
          </p15:clr>
        </p15:guide>
        <p15:guide id="6" pos="3523" userDrawn="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&#10;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8B88125F-4DBA-4A5C-98A5-541E3DF3AB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 vert="horz" wrap="square" lIns="0" tIns="0" rIns="0" bIns="756000" rtlCol="0" anchor="ctr">
            <a:noAutofit/>
          </a:bodyPr>
          <a:lstStyle>
            <a:lvl1pPr>
              <a:defRPr lang="en-US"/>
            </a:lvl1pPr>
          </a:lstStyle>
          <a:p>
            <a:pPr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age Number">
            <a:extLst>
              <a:ext uri="{FF2B5EF4-FFF2-40B4-BE49-F238E27FC236}">
                <a16:creationId xmlns:a16="http://schemas.microsoft.com/office/drawing/2014/main" id="{0EAB5203-EB9A-897F-4EF6-58F6F2BD253A}"/>
              </a:ext>
            </a:extLst>
          </p:cNvPr>
          <p:cNvSpPr txBox="1">
            <a:spLocks/>
          </p:cNvSpPr>
          <p:nvPr/>
        </p:nvSpPr>
        <p:spPr>
          <a:xfrm>
            <a:off x="11233601" y="6525346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BD4269F-8B15-0029-4910-00DF98A376D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" y="3429001"/>
            <a:ext cx="4470400" cy="3428999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chemeClr val="bg1"/>
          </a:solidFill>
        </p:spPr>
        <p:txBody>
          <a:bodyPr vert="horz" wrap="square" lIns="609600" tIns="203200" rIns="203200" bIns="203200" rtlCol="0" anchor="t" anchorCtr="0">
            <a:noAutofit/>
          </a:bodyPr>
          <a:lstStyle>
            <a:lvl1pPr algn="l">
              <a:lnSpc>
                <a:spcPct val="110000"/>
              </a:lnSpc>
              <a:defRPr lang="de-DE" sz="4600" b="1" i="0" spc="0" baseline="0" dirty="0">
                <a:solidFill>
                  <a:schemeClr val="tx2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536319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CC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</a:t>
            </a:r>
            <a:br>
              <a:rPr lang="en-GB" noProof="0"/>
            </a:br>
            <a:r>
              <a:rPr lang="en-GB" noProof="0"/>
              <a:t>Master title</a:t>
            </a:r>
            <a:br>
              <a:rPr lang="en-GB" noProof="0"/>
            </a:br>
            <a:r>
              <a:rPr lang="en-GB" noProof="0"/>
              <a:t>style</a:t>
            </a:r>
            <a:endParaRPr lang="de-DE" noProof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806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_Specia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Special">
            <a:extLst>
              <a:ext uri="{FF2B5EF4-FFF2-40B4-BE49-F238E27FC236}">
                <a16:creationId xmlns:a16="http://schemas.microsoft.com/office/drawing/2014/main" id="{30915A37-2073-1835-1333-20479AFB9FCE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effectLst>
            <a:fillOverlay blend="mult">
              <a:gradFill flip="none" rotWithShape="1">
                <a:gsLst>
                  <a:gs pos="27000">
                    <a:srgbClr val="072853">
                      <a:alpha val="77655"/>
                    </a:srgbClr>
                  </a:gs>
                  <a:gs pos="100000">
                    <a:srgbClr val="E3E3E3">
                      <a:lumMod val="10000"/>
                      <a:alpha val="0"/>
                    </a:srgbClr>
                  </a:gs>
                  <a:gs pos="1000">
                    <a:srgbClr val="538FFF">
                      <a:alpha val="19000"/>
                    </a:srgbClr>
                  </a:gs>
                </a:gsLst>
                <a:lin ang="18900000" scaled="1"/>
                <a:tileRect/>
              </a:gradFill>
            </a:fillOverlay>
          </a:effectLst>
        </p:spPr>
        <p:txBody>
          <a:bodyPr rtlCol="0" anchor="ctr"/>
          <a:lstStyle>
            <a:lvl1pPr algn="ctr">
              <a:defRPr kumimoji="0" lang="en-US" b="0" i="0" u="none" strike="noStrike" kern="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</a:defRPr>
            </a:lvl1pPr>
          </a:lstStyle>
          <a:p>
            <a:pPr marR="0" lvl="0" algn="ctr" defTabSz="914377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/>
              <a:t> </a:t>
            </a:r>
          </a:p>
        </p:txBody>
      </p:sp>
      <p:sp>
        <p:nvSpPr>
          <p:cNvPr id="2" name="Gradient Overlay">
            <a:extLst>
              <a:ext uri="{FF2B5EF4-FFF2-40B4-BE49-F238E27FC236}">
                <a16:creationId xmlns:a16="http://schemas.microsoft.com/office/drawing/2014/main" id="{B640A9B8-017D-770A-F926-BD345E7FCF4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27000">
                <a:srgbClr val="072853">
                  <a:alpha val="77655"/>
                </a:srgbClr>
              </a:gs>
              <a:gs pos="100000">
                <a:srgbClr val="E3E3E3">
                  <a:lumMod val="10000"/>
                  <a:alpha val="0"/>
                </a:srgbClr>
              </a:gs>
              <a:gs pos="1000">
                <a:srgbClr val="538FFF">
                  <a:alpha val="19000"/>
                </a:srgbClr>
              </a:gs>
            </a:gsLst>
            <a:lin ang="189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Page Number">
            <a:extLst>
              <a:ext uri="{FF2B5EF4-FFF2-40B4-BE49-F238E27FC236}">
                <a16:creationId xmlns:a16="http://schemas.microsoft.com/office/drawing/2014/main" id="{76F9FC46-6208-CC39-7B3E-CA57286B34C9}"/>
              </a:ext>
            </a:extLst>
          </p:cNvPr>
          <p:cNvSpPr txBox="1">
            <a:spLocks/>
          </p:cNvSpPr>
          <p:nvPr/>
        </p:nvSpPr>
        <p:spPr>
          <a:xfrm>
            <a:off x="11233601" y="6525346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itle plus Content">
            <a:extLst>
              <a:ext uri="{FF2B5EF4-FFF2-40B4-BE49-F238E27FC236}">
                <a16:creationId xmlns:a16="http://schemas.microsoft.com/office/drawing/2014/main" id="{A6E6DCA2-8017-4CD2-28FB-E1A0A967464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2" y="2406062"/>
            <a:ext cx="5003999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1994" indent="-251994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3987" indent="-251994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954734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quiggle">
            <a:extLst>
              <a:ext uri="{FF2B5EF4-FFF2-40B4-BE49-F238E27FC236}">
                <a16:creationId xmlns:a16="http://schemas.microsoft.com/office/drawing/2014/main" id="{E6B056FC-D76E-6EEE-1F46-98B3E85BDD72}"/>
              </a:ext>
            </a:extLst>
          </p:cNvPr>
          <p:cNvSpPr/>
          <p:nvPr/>
        </p:nvSpPr>
        <p:spPr>
          <a:xfrm rot="4430537">
            <a:off x="2406829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15000">
                <a:srgbClr val="01326E"/>
              </a:gs>
              <a:gs pos="30000">
                <a:srgbClr val="063878"/>
              </a:gs>
              <a:gs pos="78000">
                <a:srgbClr val="0F4287"/>
              </a:gs>
            </a:gsLst>
            <a:lin ang="15000009" scaled="1"/>
          </a:gra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10" name="Page Number">
            <a:extLst>
              <a:ext uri="{FF2B5EF4-FFF2-40B4-BE49-F238E27FC236}">
                <a16:creationId xmlns:a16="http://schemas.microsoft.com/office/drawing/2014/main" id="{5B0DC7E5-022C-E336-ADE4-61DCBE11E4B8}"/>
              </a:ext>
            </a:extLst>
          </p:cNvPr>
          <p:cNvSpPr txBox="1">
            <a:spLocks/>
          </p:cNvSpPr>
          <p:nvPr/>
        </p:nvSpPr>
        <p:spPr>
          <a:xfrm>
            <a:off x="11233601" y="6525346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Content Right">
            <a:extLst>
              <a:ext uri="{FF2B5EF4-FFF2-40B4-BE49-F238E27FC236}">
                <a16:creationId xmlns:a16="http://schemas.microsoft.com/office/drawing/2014/main" id="{7C386E73-9374-BBFB-A747-8E349BFAA0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3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Content Left">
            <a:extLst>
              <a:ext uri="{FF2B5EF4-FFF2-40B4-BE49-F238E27FC236}">
                <a16:creationId xmlns:a16="http://schemas.microsoft.com/office/drawing/2014/main" id="{4A32F4B5-2541-213E-96AA-F00FB8F19F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3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8CB23AF2-DD56-8970-5A18-031902AD91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2" y="2662993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n-lt"/>
              </a:defRPr>
            </a:lvl8pPr>
            <a:lvl9pPr algn="ctr">
              <a:defRPr/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31362806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Dark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quiggle">
            <a:extLst>
              <a:ext uri="{FF2B5EF4-FFF2-40B4-BE49-F238E27FC236}">
                <a16:creationId xmlns:a16="http://schemas.microsoft.com/office/drawing/2014/main" id="{1E6DD7F4-E2C2-F58B-157D-CC07C47C23C1}"/>
              </a:ext>
            </a:extLst>
          </p:cNvPr>
          <p:cNvSpPr/>
          <p:nvPr/>
        </p:nvSpPr>
        <p:spPr>
          <a:xfrm>
            <a:off x="2" y="0"/>
            <a:ext cx="12191999" cy="6191520"/>
          </a:xfrm>
          <a:custGeom>
            <a:avLst/>
            <a:gdLst>
              <a:gd name="connsiteX0" fmla="*/ 6714175 w 12191999"/>
              <a:gd name="connsiteY0" fmla="*/ 0 h 6191520"/>
              <a:gd name="connsiteX1" fmla="*/ 8050801 w 12191999"/>
              <a:gd name="connsiteY1" fmla="*/ 0 h 6191520"/>
              <a:gd name="connsiteX2" fmla="*/ 10623550 w 12191999"/>
              <a:gd name="connsiteY2" fmla="*/ 692150 h 6191520"/>
              <a:gd name="connsiteX3" fmla="*/ 11134726 w 12191999"/>
              <a:gd name="connsiteY3" fmla="*/ 876300 h 6191520"/>
              <a:gd name="connsiteX4" fmla="*/ 10858501 w 12191999"/>
              <a:gd name="connsiteY4" fmla="*/ 2076451 h 6191520"/>
              <a:gd name="connsiteX5" fmla="*/ 8181976 w 12191999"/>
              <a:gd name="connsiteY5" fmla="*/ 2343151 h 6191520"/>
              <a:gd name="connsiteX6" fmla="*/ 12039359 w 12191999"/>
              <a:gd name="connsiteY6" fmla="*/ 2642538 h 6191520"/>
              <a:gd name="connsiteX7" fmla="*/ 12191999 w 12191999"/>
              <a:gd name="connsiteY7" fmla="*/ 2680470 h 6191520"/>
              <a:gd name="connsiteX8" fmla="*/ 12191999 w 12191999"/>
              <a:gd name="connsiteY8" fmla="*/ 4461251 h 6191520"/>
              <a:gd name="connsiteX9" fmla="*/ 12029198 w 12191999"/>
              <a:gd name="connsiteY9" fmla="*/ 4498611 h 6191520"/>
              <a:gd name="connsiteX10" fmla="*/ 3400734 w 12191999"/>
              <a:gd name="connsiteY10" fmla="*/ 4691832 h 6191520"/>
              <a:gd name="connsiteX11" fmla="*/ 10825317 w 12191999"/>
              <a:gd name="connsiteY11" fmla="*/ 4906297 h 6191520"/>
              <a:gd name="connsiteX12" fmla="*/ 10753725 w 12191999"/>
              <a:gd name="connsiteY12" fmla="*/ 6188486 h 6191520"/>
              <a:gd name="connsiteX13" fmla="*/ 483866 w 12191999"/>
              <a:gd name="connsiteY13" fmla="*/ 5753127 h 6191520"/>
              <a:gd name="connsiteX14" fmla="*/ 0 w 12191999"/>
              <a:gd name="connsiteY14" fmla="*/ 5700385 h 6191520"/>
              <a:gd name="connsiteX15" fmla="*/ 0 w 12191999"/>
              <a:gd name="connsiteY15" fmla="*/ 3731019 h 6191520"/>
              <a:gd name="connsiteX16" fmla="*/ 92261 w 12191999"/>
              <a:gd name="connsiteY16" fmla="*/ 3708145 h 6191520"/>
              <a:gd name="connsiteX17" fmla="*/ 1002891 w 12191999"/>
              <a:gd name="connsiteY17" fmla="*/ 3618271 h 6191520"/>
              <a:gd name="connsiteX18" fmla="*/ 25475 w 12191999"/>
              <a:gd name="connsiteY18" fmla="*/ 3349301 h 6191520"/>
              <a:gd name="connsiteX19" fmla="*/ 0 w 12191999"/>
              <a:gd name="connsiteY19" fmla="*/ 3338246 h 6191520"/>
              <a:gd name="connsiteX20" fmla="*/ 0 w 12191999"/>
              <a:gd name="connsiteY20" fmla="*/ 2172532 h 6191520"/>
              <a:gd name="connsiteX21" fmla="*/ 31629 w 12191999"/>
              <a:gd name="connsiteY21" fmla="*/ 2142588 h 6191520"/>
              <a:gd name="connsiteX22" fmla="*/ 7181852 w 12191999"/>
              <a:gd name="connsiteY22" fmla="*/ 1143000 h 6191520"/>
              <a:gd name="connsiteX23" fmla="*/ 6684468 w 12191999"/>
              <a:gd name="connsiteY23" fmla="*/ 45095 h 619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9" h="6191520">
                <a:moveTo>
                  <a:pt x="6714175" y="0"/>
                </a:moveTo>
                <a:lnTo>
                  <a:pt x="8050801" y="0"/>
                </a:lnTo>
                <a:lnTo>
                  <a:pt x="10623550" y="692150"/>
                </a:lnTo>
                <a:cubicBezTo>
                  <a:pt x="10793942" y="753533"/>
                  <a:pt x="10856384" y="764117"/>
                  <a:pt x="11134726" y="876300"/>
                </a:cubicBezTo>
                <a:cubicBezTo>
                  <a:pt x="11772901" y="1309688"/>
                  <a:pt x="11091478" y="2063050"/>
                  <a:pt x="10858501" y="2076451"/>
                </a:cubicBezTo>
                <a:cubicBezTo>
                  <a:pt x="10637716" y="2089151"/>
                  <a:pt x="9112251" y="2251076"/>
                  <a:pt x="8181976" y="2343151"/>
                </a:cubicBezTo>
                <a:cubicBezTo>
                  <a:pt x="9457135" y="2448720"/>
                  <a:pt x="10834391" y="2371974"/>
                  <a:pt x="12039359" y="2642538"/>
                </a:cubicBezTo>
                <a:lnTo>
                  <a:pt x="12191999" y="2680470"/>
                </a:lnTo>
                <a:lnTo>
                  <a:pt x="12191999" y="4461251"/>
                </a:lnTo>
                <a:lnTo>
                  <a:pt x="12029198" y="4498611"/>
                </a:lnTo>
                <a:cubicBezTo>
                  <a:pt x="10052580" y="4896281"/>
                  <a:pt x="3595103" y="4625802"/>
                  <a:pt x="3400734" y="4691832"/>
                </a:cubicBezTo>
                <a:cubicBezTo>
                  <a:pt x="3200095" y="4759992"/>
                  <a:pt x="9835794" y="4794506"/>
                  <a:pt x="10825317" y="4906297"/>
                </a:cubicBezTo>
                <a:cubicBezTo>
                  <a:pt x="11814840" y="5018088"/>
                  <a:pt x="11251074" y="6260794"/>
                  <a:pt x="10753725" y="6188486"/>
                </a:cubicBezTo>
                <a:cubicBezTo>
                  <a:pt x="8313425" y="6094676"/>
                  <a:pt x="4231215" y="6130491"/>
                  <a:pt x="483866" y="5753127"/>
                </a:cubicBezTo>
                <a:lnTo>
                  <a:pt x="0" y="5700385"/>
                </a:lnTo>
                <a:lnTo>
                  <a:pt x="0" y="3731019"/>
                </a:lnTo>
                <a:lnTo>
                  <a:pt x="92261" y="3708145"/>
                </a:lnTo>
                <a:cubicBezTo>
                  <a:pt x="430911" y="3635859"/>
                  <a:pt x="902136" y="3639908"/>
                  <a:pt x="1002891" y="3618271"/>
                </a:cubicBezTo>
                <a:cubicBezTo>
                  <a:pt x="992048" y="3621510"/>
                  <a:pt x="391872" y="3496392"/>
                  <a:pt x="25475" y="3349301"/>
                </a:cubicBezTo>
                <a:lnTo>
                  <a:pt x="0" y="3338246"/>
                </a:lnTo>
                <a:lnTo>
                  <a:pt x="0" y="2172532"/>
                </a:lnTo>
                <a:lnTo>
                  <a:pt x="31629" y="2142588"/>
                </a:lnTo>
                <a:cubicBezTo>
                  <a:pt x="905081" y="1446802"/>
                  <a:pt x="4950569" y="1355124"/>
                  <a:pt x="7181852" y="1143000"/>
                </a:cubicBezTo>
                <a:cubicBezTo>
                  <a:pt x="6322221" y="1016794"/>
                  <a:pt x="6432353" y="456605"/>
                  <a:pt x="6684468" y="45095"/>
                </a:cubicBezTo>
                <a:close/>
              </a:path>
            </a:pathLst>
          </a:custGeom>
          <a:gradFill flip="none" rotWithShape="1">
            <a:gsLst>
              <a:gs pos="77000">
                <a:srgbClr val="3A72D2"/>
              </a:gs>
              <a:gs pos="37000">
                <a:schemeClr val="accent1"/>
              </a:gs>
              <a:gs pos="0">
                <a:schemeClr val="accent1">
                  <a:lumMod val="50000"/>
                </a:schemeClr>
              </a:gs>
              <a:gs pos="100000">
                <a:srgbClr val="508CFB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91FED144-706E-40BF-05AD-D824465899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3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47D136EB-E265-B02D-31FA-D2556BEE9F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3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2BCE1666-68F9-B23D-25CA-48CFE4798B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2" y="2662993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n-lt"/>
              </a:defRPr>
            </a:lvl8pPr>
            <a:lvl9pPr algn="ctr">
              <a:defRPr/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37917550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BC">
    <p:bg>
      <p:bgPr>
        <a:gradFill>
          <a:gsLst>
            <a:gs pos="0">
              <a:schemeClr val="accent1"/>
            </a:gs>
            <a:gs pos="100000">
              <a:schemeClr val="accent3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qiggle">
            <a:extLst>
              <a:ext uri="{FF2B5EF4-FFF2-40B4-BE49-F238E27FC236}">
                <a16:creationId xmlns:a16="http://schemas.microsoft.com/office/drawing/2014/main" id="{7CFE2DE4-C24E-60C5-80CA-985A84B4053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268" t="3430" r="5268"/>
          <a:stretch/>
        </p:blipFill>
        <p:spPr>
          <a:xfrm>
            <a:off x="1" y="0"/>
            <a:ext cx="12192001" cy="6197600"/>
          </a:xfrm>
          <a:prstGeom prst="rect">
            <a:avLst/>
          </a:prstGeom>
        </p:spPr>
      </p:pic>
      <p:sp>
        <p:nvSpPr>
          <p:cNvPr id="14" name="Content Right">
            <a:extLst>
              <a:ext uri="{FF2B5EF4-FFF2-40B4-BE49-F238E27FC236}">
                <a16:creationId xmlns:a16="http://schemas.microsoft.com/office/drawing/2014/main" id="{565FE5FD-13AB-AEFA-D1C2-F2E347DD1EF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3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ontent Left">
            <a:extLst>
              <a:ext uri="{FF2B5EF4-FFF2-40B4-BE49-F238E27FC236}">
                <a16:creationId xmlns:a16="http://schemas.microsoft.com/office/drawing/2014/main" id="{2C9CF517-E5B8-36D8-B36C-5B35A7DCAA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3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C5615C34-CA3E-F307-1218-2A274BDD2A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2" y="2662993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4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4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4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4"/>
                </a:solidFill>
                <a:latin typeface="+mn-lt"/>
              </a:defRPr>
            </a:lvl8pPr>
            <a:lvl9pPr algn="ctr">
              <a:defRPr>
                <a:solidFill>
                  <a:schemeClr val="accent4"/>
                </a:solidFill>
              </a:defRPr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3918479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CC">
    <p:bg>
      <p:bgPr>
        <a:gradFill>
          <a:gsLst>
            <a:gs pos="0">
              <a:schemeClr val="accent4"/>
            </a:gs>
            <a:gs pos="100000">
              <a:schemeClr val="accent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quiggle">
            <a:extLst>
              <a:ext uri="{FF2B5EF4-FFF2-40B4-BE49-F238E27FC236}">
                <a16:creationId xmlns:a16="http://schemas.microsoft.com/office/drawing/2014/main" id="{A2CEC2FF-1490-0554-2D76-465A5050BD16}"/>
              </a:ext>
            </a:extLst>
          </p:cNvPr>
          <p:cNvSpPr/>
          <p:nvPr/>
        </p:nvSpPr>
        <p:spPr>
          <a:xfrm>
            <a:off x="2" y="0"/>
            <a:ext cx="12191999" cy="6858000"/>
          </a:xfrm>
          <a:custGeom>
            <a:avLst/>
            <a:gdLst>
              <a:gd name="connsiteX0" fmla="*/ 6714175 w 12191999"/>
              <a:gd name="connsiteY0" fmla="*/ 0 h 6191520"/>
              <a:gd name="connsiteX1" fmla="*/ 8050801 w 12191999"/>
              <a:gd name="connsiteY1" fmla="*/ 0 h 6191520"/>
              <a:gd name="connsiteX2" fmla="*/ 10623550 w 12191999"/>
              <a:gd name="connsiteY2" fmla="*/ 692150 h 6191520"/>
              <a:gd name="connsiteX3" fmla="*/ 11134726 w 12191999"/>
              <a:gd name="connsiteY3" fmla="*/ 876300 h 6191520"/>
              <a:gd name="connsiteX4" fmla="*/ 10858501 w 12191999"/>
              <a:gd name="connsiteY4" fmla="*/ 2076451 h 6191520"/>
              <a:gd name="connsiteX5" fmla="*/ 8181976 w 12191999"/>
              <a:gd name="connsiteY5" fmla="*/ 2343151 h 6191520"/>
              <a:gd name="connsiteX6" fmla="*/ 12039359 w 12191999"/>
              <a:gd name="connsiteY6" fmla="*/ 2642538 h 6191520"/>
              <a:gd name="connsiteX7" fmla="*/ 12191999 w 12191999"/>
              <a:gd name="connsiteY7" fmla="*/ 2680470 h 6191520"/>
              <a:gd name="connsiteX8" fmla="*/ 12191999 w 12191999"/>
              <a:gd name="connsiteY8" fmla="*/ 4461251 h 6191520"/>
              <a:gd name="connsiteX9" fmla="*/ 12029198 w 12191999"/>
              <a:gd name="connsiteY9" fmla="*/ 4498611 h 6191520"/>
              <a:gd name="connsiteX10" fmla="*/ 3400734 w 12191999"/>
              <a:gd name="connsiteY10" fmla="*/ 4691832 h 6191520"/>
              <a:gd name="connsiteX11" fmla="*/ 10825317 w 12191999"/>
              <a:gd name="connsiteY11" fmla="*/ 4906297 h 6191520"/>
              <a:gd name="connsiteX12" fmla="*/ 10753725 w 12191999"/>
              <a:gd name="connsiteY12" fmla="*/ 6188486 h 6191520"/>
              <a:gd name="connsiteX13" fmla="*/ 483866 w 12191999"/>
              <a:gd name="connsiteY13" fmla="*/ 5753127 h 6191520"/>
              <a:gd name="connsiteX14" fmla="*/ 0 w 12191999"/>
              <a:gd name="connsiteY14" fmla="*/ 5700385 h 6191520"/>
              <a:gd name="connsiteX15" fmla="*/ 0 w 12191999"/>
              <a:gd name="connsiteY15" fmla="*/ 3731019 h 6191520"/>
              <a:gd name="connsiteX16" fmla="*/ 92261 w 12191999"/>
              <a:gd name="connsiteY16" fmla="*/ 3708145 h 6191520"/>
              <a:gd name="connsiteX17" fmla="*/ 1002891 w 12191999"/>
              <a:gd name="connsiteY17" fmla="*/ 3618271 h 6191520"/>
              <a:gd name="connsiteX18" fmla="*/ 25475 w 12191999"/>
              <a:gd name="connsiteY18" fmla="*/ 3349301 h 6191520"/>
              <a:gd name="connsiteX19" fmla="*/ 0 w 12191999"/>
              <a:gd name="connsiteY19" fmla="*/ 3338246 h 6191520"/>
              <a:gd name="connsiteX20" fmla="*/ 0 w 12191999"/>
              <a:gd name="connsiteY20" fmla="*/ 2172532 h 6191520"/>
              <a:gd name="connsiteX21" fmla="*/ 31629 w 12191999"/>
              <a:gd name="connsiteY21" fmla="*/ 2142588 h 6191520"/>
              <a:gd name="connsiteX22" fmla="*/ 7181852 w 12191999"/>
              <a:gd name="connsiteY22" fmla="*/ 1143000 h 6191520"/>
              <a:gd name="connsiteX23" fmla="*/ 6684468 w 12191999"/>
              <a:gd name="connsiteY23" fmla="*/ 45095 h 619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9" h="6191520">
                <a:moveTo>
                  <a:pt x="6714175" y="0"/>
                </a:moveTo>
                <a:lnTo>
                  <a:pt x="8050801" y="0"/>
                </a:lnTo>
                <a:lnTo>
                  <a:pt x="10623550" y="692150"/>
                </a:lnTo>
                <a:cubicBezTo>
                  <a:pt x="10793942" y="753533"/>
                  <a:pt x="10856384" y="764117"/>
                  <a:pt x="11134726" y="876300"/>
                </a:cubicBezTo>
                <a:cubicBezTo>
                  <a:pt x="11772901" y="1309688"/>
                  <a:pt x="11091478" y="2063050"/>
                  <a:pt x="10858501" y="2076451"/>
                </a:cubicBezTo>
                <a:cubicBezTo>
                  <a:pt x="10637716" y="2089151"/>
                  <a:pt x="9112251" y="2251076"/>
                  <a:pt x="8181976" y="2343151"/>
                </a:cubicBezTo>
                <a:cubicBezTo>
                  <a:pt x="9457135" y="2448720"/>
                  <a:pt x="10834391" y="2371974"/>
                  <a:pt x="12039359" y="2642538"/>
                </a:cubicBezTo>
                <a:lnTo>
                  <a:pt x="12191999" y="2680470"/>
                </a:lnTo>
                <a:lnTo>
                  <a:pt x="12191999" y="4461251"/>
                </a:lnTo>
                <a:lnTo>
                  <a:pt x="12029198" y="4498611"/>
                </a:lnTo>
                <a:cubicBezTo>
                  <a:pt x="10052580" y="4896281"/>
                  <a:pt x="3595103" y="4625802"/>
                  <a:pt x="3400734" y="4691832"/>
                </a:cubicBezTo>
                <a:cubicBezTo>
                  <a:pt x="3200095" y="4759992"/>
                  <a:pt x="9835794" y="4794506"/>
                  <a:pt x="10825317" y="4906297"/>
                </a:cubicBezTo>
                <a:cubicBezTo>
                  <a:pt x="11814840" y="5018088"/>
                  <a:pt x="11251074" y="6260794"/>
                  <a:pt x="10753725" y="6188486"/>
                </a:cubicBezTo>
                <a:cubicBezTo>
                  <a:pt x="8313425" y="6094676"/>
                  <a:pt x="4231215" y="6130491"/>
                  <a:pt x="483866" y="5753127"/>
                </a:cubicBezTo>
                <a:lnTo>
                  <a:pt x="0" y="5700385"/>
                </a:lnTo>
                <a:lnTo>
                  <a:pt x="0" y="3731019"/>
                </a:lnTo>
                <a:lnTo>
                  <a:pt x="92261" y="3708145"/>
                </a:lnTo>
                <a:cubicBezTo>
                  <a:pt x="430911" y="3635859"/>
                  <a:pt x="902136" y="3639908"/>
                  <a:pt x="1002891" y="3618271"/>
                </a:cubicBezTo>
                <a:cubicBezTo>
                  <a:pt x="992048" y="3621510"/>
                  <a:pt x="391872" y="3496392"/>
                  <a:pt x="25475" y="3349301"/>
                </a:cubicBezTo>
                <a:lnTo>
                  <a:pt x="0" y="3338246"/>
                </a:lnTo>
                <a:lnTo>
                  <a:pt x="0" y="2172532"/>
                </a:lnTo>
                <a:lnTo>
                  <a:pt x="31629" y="2142588"/>
                </a:lnTo>
                <a:cubicBezTo>
                  <a:pt x="905081" y="1446802"/>
                  <a:pt x="4950569" y="1355124"/>
                  <a:pt x="7181852" y="1143000"/>
                </a:cubicBezTo>
                <a:cubicBezTo>
                  <a:pt x="6322221" y="1016794"/>
                  <a:pt x="6432353" y="456605"/>
                  <a:pt x="6684468" y="45095"/>
                </a:cubicBezTo>
                <a:close/>
              </a:path>
            </a:pathLst>
          </a:custGeom>
          <a:gradFill>
            <a:gsLst>
              <a:gs pos="81000">
                <a:schemeClr val="accent4"/>
              </a:gs>
              <a:gs pos="45000">
                <a:schemeClr val="accent5"/>
              </a:gs>
              <a:gs pos="0">
                <a:schemeClr val="accent5">
                  <a:lumMod val="75000"/>
                </a:schemeClr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ADA28BE9-F121-8062-CBAD-9A343CD32F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3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6E8E9C7C-A4E7-DBB7-A0F1-558FE349EB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3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59DCE367-7F86-E53B-D18B-45159C29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2" y="2662993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1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1"/>
                </a:solidFill>
                <a:latin typeface="+mn-lt"/>
              </a:defRPr>
            </a:lvl8pPr>
            <a:lvl9pPr algn="ctr"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1645596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CE">
    <p:bg>
      <p:bgPr>
        <a:gradFill>
          <a:gsLst>
            <a:gs pos="100000">
              <a:schemeClr val="accent2"/>
            </a:gs>
            <a:gs pos="1000">
              <a:schemeClr val="accent6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quiggle">
            <a:extLst>
              <a:ext uri="{FF2B5EF4-FFF2-40B4-BE49-F238E27FC236}">
                <a16:creationId xmlns:a16="http://schemas.microsoft.com/office/drawing/2014/main" id="{06464395-C2C6-ABCC-8A0F-EB434784476E}"/>
              </a:ext>
            </a:extLst>
          </p:cNvPr>
          <p:cNvSpPr/>
          <p:nvPr/>
        </p:nvSpPr>
        <p:spPr>
          <a:xfrm flipH="1">
            <a:off x="0" y="12700"/>
            <a:ext cx="12192000" cy="6845300"/>
          </a:xfrm>
          <a:custGeom>
            <a:avLst/>
            <a:gdLst>
              <a:gd name="connsiteX0" fmla="*/ 6199289 w 12192000"/>
              <a:gd name="connsiteY0" fmla="*/ 0 h 6845300"/>
              <a:gd name="connsiteX1" fmla="*/ 7203731 w 12192000"/>
              <a:gd name="connsiteY1" fmla="*/ 0 h 6845300"/>
              <a:gd name="connsiteX2" fmla="*/ 7359622 w 12192000"/>
              <a:gd name="connsiteY2" fmla="*/ 49453 h 6845300"/>
              <a:gd name="connsiteX3" fmla="*/ 8414960 w 12192000"/>
              <a:gd name="connsiteY3" fmla="*/ 1606495 h 6845300"/>
              <a:gd name="connsiteX4" fmla="*/ 5466469 w 12192000"/>
              <a:gd name="connsiteY4" fmla="*/ 2898099 h 6845300"/>
              <a:gd name="connsiteX5" fmla="*/ 5510206 w 12192000"/>
              <a:gd name="connsiteY5" fmla="*/ 2901236 h 6845300"/>
              <a:gd name="connsiteX6" fmla="*/ 5460194 w 12192000"/>
              <a:gd name="connsiteY6" fmla="*/ 2910257 h 6845300"/>
              <a:gd name="connsiteX7" fmla="*/ 5519365 w 12192000"/>
              <a:gd name="connsiteY7" fmla="*/ 2901893 h 6845300"/>
              <a:gd name="connsiteX8" fmla="*/ 5510206 w 12192000"/>
              <a:gd name="connsiteY8" fmla="*/ 2901236 h 6845300"/>
              <a:gd name="connsiteX9" fmla="*/ 5580191 w 12192000"/>
              <a:gd name="connsiteY9" fmla="*/ 2888612 h 6845300"/>
              <a:gd name="connsiteX10" fmla="*/ 11972077 w 12192000"/>
              <a:gd name="connsiteY10" fmla="*/ 2171553 h 6845300"/>
              <a:gd name="connsiteX11" fmla="*/ 12192000 w 12192000"/>
              <a:gd name="connsiteY11" fmla="*/ 2178484 h 6845300"/>
              <a:gd name="connsiteX12" fmla="*/ 12192000 w 12192000"/>
              <a:gd name="connsiteY12" fmla="*/ 5299398 h 6845300"/>
              <a:gd name="connsiteX13" fmla="*/ 12167811 w 12192000"/>
              <a:gd name="connsiteY13" fmla="*/ 5321244 h 6845300"/>
              <a:gd name="connsiteX14" fmla="*/ 6833810 w 12192000"/>
              <a:gd name="connsiteY14" fmla="*/ 6845245 h 6845300"/>
              <a:gd name="connsiteX15" fmla="*/ 4014410 w 12192000"/>
              <a:gd name="connsiteY15" fmla="*/ 5721294 h 6845300"/>
              <a:gd name="connsiteX16" fmla="*/ 6090862 w 12192000"/>
              <a:gd name="connsiteY16" fmla="*/ 5016445 h 6845300"/>
              <a:gd name="connsiteX17" fmla="*/ 8091111 w 12192000"/>
              <a:gd name="connsiteY17" fmla="*/ 4387794 h 6845300"/>
              <a:gd name="connsiteX18" fmla="*/ 133191 w 12192000"/>
              <a:gd name="connsiteY18" fmla="*/ 5201685 h 6845300"/>
              <a:gd name="connsiteX19" fmla="*/ 0 w 12192000"/>
              <a:gd name="connsiteY19" fmla="*/ 5177688 h 6845300"/>
              <a:gd name="connsiteX20" fmla="*/ 0 w 12192000"/>
              <a:gd name="connsiteY20" fmla="*/ 2436193 h 684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000" h="6845300">
                <a:moveTo>
                  <a:pt x="6199289" y="0"/>
                </a:moveTo>
                <a:lnTo>
                  <a:pt x="7203731" y="0"/>
                </a:lnTo>
                <a:lnTo>
                  <a:pt x="7359622" y="49453"/>
                </a:lnTo>
                <a:cubicBezTo>
                  <a:pt x="8204617" y="379158"/>
                  <a:pt x="8544341" y="1258039"/>
                  <a:pt x="8414960" y="1606495"/>
                </a:cubicBezTo>
                <a:cubicBezTo>
                  <a:pt x="8247843" y="2056585"/>
                  <a:pt x="5039486" y="2835429"/>
                  <a:pt x="5466469" y="2898099"/>
                </a:cubicBezTo>
                <a:lnTo>
                  <a:pt x="5510206" y="2901236"/>
                </a:lnTo>
                <a:lnTo>
                  <a:pt x="5460194" y="2910257"/>
                </a:lnTo>
                <a:cubicBezTo>
                  <a:pt x="5292756" y="2940883"/>
                  <a:pt x="5292153" y="2943234"/>
                  <a:pt x="5519365" y="2901893"/>
                </a:cubicBezTo>
                <a:lnTo>
                  <a:pt x="5510206" y="2901236"/>
                </a:lnTo>
                <a:lnTo>
                  <a:pt x="5580191" y="2888612"/>
                </a:lnTo>
                <a:cubicBezTo>
                  <a:pt x="6521601" y="2720756"/>
                  <a:pt x="10015123" y="2137155"/>
                  <a:pt x="11972077" y="2171553"/>
                </a:cubicBezTo>
                <a:lnTo>
                  <a:pt x="12192000" y="2178484"/>
                </a:lnTo>
                <a:lnTo>
                  <a:pt x="12192000" y="5299398"/>
                </a:lnTo>
                <a:lnTo>
                  <a:pt x="12167811" y="5321244"/>
                </a:lnTo>
                <a:cubicBezTo>
                  <a:pt x="11357127" y="6035619"/>
                  <a:pt x="8192710" y="6781745"/>
                  <a:pt x="6833810" y="6845245"/>
                </a:cubicBezTo>
                <a:cubicBezTo>
                  <a:pt x="5589211" y="6851595"/>
                  <a:pt x="4014410" y="6315019"/>
                  <a:pt x="4014410" y="5721294"/>
                </a:cubicBezTo>
                <a:cubicBezTo>
                  <a:pt x="4014410" y="5127569"/>
                  <a:pt x="5411411" y="5238695"/>
                  <a:pt x="6090862" y="5016445"/>
                </a:cubicBezTo>
                <a:cubicBezTo>
                  <a:pt x="6770312" y="4794195"/>
                  <a:pt x="9538911" y="4140145"/>
                  <a:pt x="8091111" y="4387794"/>
                </a:cubicBezTo>
                <a:cubicBezTo>
                  <a:pt x="6733800" y="4619965"/>
                  <a:pt x="1980415" y="5478145"/>
                  <a:pt x="133191" y="5201685"/>
                </a:cubicBezTo>
                <a:lnTo>
                  <a:pt x="0" y="5177688"/>
                </a:lnTo>
                <a:lnTo>
                  <a:pt x="0" y="2436193"/>
                </a:lnTo>
                <a:close/>
              </a:path>
            </a:pathLst>
          </a:custGeom>
          <a:gradFill flip="none" rotWithShape="1">
            <a:gsLst>
              <a:gs pos="89000">
                <a:srgbClr val="00B8E1"/>
              </a:gs>
              <a:gs pos="58000">
                <a:srgbClr val="00B9BB"/>
              </a:gs>
              <a:gs pos="13000">
                <a:schemeClr val="accent6"/>
              </a:gs>
            </a:gsLst>
            <a:lin ang="5400000" scaled="1"/>
            <a:tileRect/>
          </a:gra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03200" tIns="203200" rIns="203200" bIns="203200" rtlCol="0" anchor="ctr">
            <a:noAutofit/>
          </a:bodyPr>
          <a:lstStyle/>
          <a:p>
            <a:pPr algn="ctr" defTabSz="485988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C838D4E0-5FA5-149F-DA63-5537298677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3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4D97221C-C54B-48A3-07B5-36612F448B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3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DE9B26B4-B170-0585-EE3B-86F2524427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2" y="2662993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4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4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4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4"/>
                </a:solidFill>
                <a:latin typeface="+mn-lt"/>
              </a:defRPr>
            </a:lvl8pPr>
            <a:lvl9pPr algn="ctr">
              <a:defRPr>
                <a:solidFill>
                  <a:schemeClr val="accent4"/>
                </a:solidFill>
              </a:defRPr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33318198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DA">
    <p:bg>
      <p:bgPr>
        <a:gradFill>
          <a:gsLst>
            <a:gs pos="0">
              <a:schemeClr val="accent2"/>
            </a:gs>
            <a:gs pos="100000">
              <a:schemeClr val="accent3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quiggle">
            <a:extLst>
              <a:ext uri="{FF2B5EF4-FFF2-40B4-BE49-F238E27FC236}">
                <a16:creationId xmlns:a16="http://schemas.microsoft.com/office/drawing/2014/main" id="{1E6DD7F4-E2C2-F58B-157D-CC07C47C23C1}"/>
              </a:ext>
            </a:extLst>
          </p:cNvPr>
          <p:cNvSpPr/>
          <p:nvPr/>
        </p:nvSpPr>
        <p:spPr>
          <a:xfrm>
            <a:off x="2" y="0"/>
            <a:ext cx="12191999" cy="6858000"/>
          </a:xfrm>
          <a:custGeom>
            <a:avLst/>
            <a:gdLst>
              <a:gd name="connsiteX0" fmla="*/ 6714175 w 12191999"/>
              <a:gd name="connsiteY0" fmla="*/ 0 h 6191520"/>
              <a:gd name="connsiteX1" fmla="*/ 8050801 w 12191999"/>
              <a:gd name="connsiteY1" fmla="*/ 0 h 6191520"/>
              <a:gd name="connsiteX2" fmla="*/ 10623550 w 12191999"/>
              <a:gd name="connsiteY2" fmla="*/ 692150 h 6191520"/>
              <a:gd name="connsiteX3" fmla="*/ 11134726 w 12191999"/>
              <a:gd name="connsiteY3" fmla="*/ 876300 h 6191520"/>
              <a:gd name="connsiteX4" fmla="*/ 10858501 w 12191999"/>
              <a:gd name="connsiteY4" fmla="*/ 2076451 h 6191520"/>
              <a:gd name="connsiteX5" fmla="*/ 8181976 w 12191999"/>
              <a:gd name="connsiteY5" fmla="*/ 2343151 h 6191520"/>
              <a:gd name="connsiteX6" fmla="*/ 12039359 w 12191999"/>
              <a:gd name="connsiteY6" fmla="*/ 2642538 h 6191520"/>
              <a:gd name="connsiteX7" fmla="*/ 12191999 w 12191999"/>
              <a:gd name="connsiteY7" fmla="*/ 2680470 h 6191520"/>
              <a:gd name="connsiteX8" fmla="*/ 12191999 w 12191999"/>
              <a:gd name="connsiteY8" fmla="*/ 4461251 h 6191520"/>
              <a:gd name="connsiteX9" fmla="*/ 12029198 w 12191999"/>
              <a:gd name="connsiteY9" fmla="*/ 4498611 h 6191520"/>
              <a:gd name="connsiteX10" fmla="*/ 3400734 w 12191999"/>
              <a:gd name="connsiteY10" fmla="*/ 4691832 h 6191520"/>
              <a:gd name="connsiteX11" fmla="*/ 10825317 w 12191999"/>
              <a:gd name="connsiteY11" fmla="*/ 4906297 h 6191520"/>
              <a:gd name="connsiteX12" fmla="*/ 10753725 w 12191999"/>
              <a:gd name="connsiteY12" fmla="*/ 6188486 h 6191520"/>
              <a:gd name="connsiteX13" fmla="*/ 483866 w 12191999"/>
              <a:gd name="connsiteY13" fmla="*/ 5753127 h 6191520"/>
              <a:gd name="connsiteX14" fmla="*/ 0 w 12191999"/>
              <a:gd name="connsiteY14" fmla="*/ 5700385 h 6191520"/>
              <a:gd name="connsiteX15" fmla="*/ 0 w 12191999"/>
              <a:gd name="connsiteY15" fmla="*/ 3731019 h 6191520"/>
              <a:gd name="connsiteX16" fmla="*/ 92261 w 12191999"/>
              <a:gd name="connsiteY16" fmla="*/ 3708145 h 6191520"/>
              <a:gd name="connsiteX17" fmla="*/ 1002891 w 12191999"/>
              <a:gd name="connsiteY17" fmla="*/ 3618271 h 6191520"/>
              <a:gd name="connsiteX18" fmla="*/ 25475 w 12191999"/>
              <a:gd name="connsiteY18" fmla="*/ 3349301 h 6191520"/>
              <a:gd name="connsiteX19" fmla="*/ 0 w 12191999"/>
              <a:gd name="connsiteY19" fmla="*/ 3338246 h 6191520"/>
              <a:gd name="connsiteX20" fmla="*/ 0 w 12191999"/>
              <a:gd name="connsiteY20" fmla="*/ 2172532 h 6191520"/>
              <a:gd name="connsiteX21" fmla="*/ 31629 w 12191999"/>
              <a:gd name="connsiteY21" fmla="*/ 2142588 h 6191520"/>
              <a:gd name="connsiteX22" fmla="*/ 7181852 w 12191999"/>
              <a:gd name="connsiteY22" fmla="*/ 1143000 h 6191520"/>
              <a:gd name="connsiteX23" fmla="*/ 6684468 w 12191999"/>
              <a:gd name="connsiteY23" fmla="*/ 45095 h 619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9" h="6191520">
                <a:moveTo>
                  <a:pt x="6714175" y="0"/>
                </a:moveTo>
                <a:lnTo>
                  <a:pt x="8050801" y="0"/>
                </a:lnTo>
                <a:lnTo>
                  <a:pt x="10623550" y="692150"/>
                </a:lnTo>
                <a:cubicBezTo>
                  <a:pt x="10793942" y="753533"/>
                  <a:pt x="10856384" y="764117"/>
                  <a:pt x="11134726" y="876300"/>
                </a:cubicBezTo>
                <a:cubicBezTo>
                  <a:pt x="11772901" y="1309688"/>
                  <a:pt x="11091478" y="2063050"/>
                  <a:pt x="10858501" y="2076451"/>
                </a:cubicBezTo>
                <a:cubicBezTo>
                  <a:pt x="10637716" y="2089151"/>
                  <a:pt x="9112251" y="2251076"/>
                  <a:pt x="8181976" y="2343151"/>
                </a:cubicBezTo>
                <a:cubicBezTo>
                  <a:pt x="9457135" y="2448720"/>
                  <a:pt x="10834391" y="2371974"/>
                  <a:pt x="12039359" y="2642538"/>
                </a:cubicBezTo>
                <a:lnTo>
                  <a:pt x="12191999" y="2680470"/>
                </a:lnTo>
                <a:lnTo>
                  <a:pt x="12191999" y="4461251"/>
                </a:lnTo>
                <a:lnTo>
                  <a:pt x="12029198" y="4498611"/>
                </a:lnTo>
                <a:cubicBezTo>
                  <a:pt x="10052580" y="4896281"/>
                  <a:pt x="3595103" y="4625802"/>
                  <a:pt x="3400734" y="4691832"/>
                </a:cubicBezTo>
                <a:cubicBezTo>
                  <a:pt x="3200095" y="4759992"/>
                  <a:pt x="9835794" y="4794506"/>
                  <a:pt x="10825317" y="4906297"/>
                </a:cubicBezTo>
                <a:cubicBezTo>
                  <a:pt x="11814840" y="5018088"/>
                  <a:pt x="11251074" y="6260794"/>
                  <a:pt x="10753725" y="6188486"/>
                </a:cubicBezTo>
                <a:cubicBezTo>
                  <a:pt x="8313425" y="6094676"/>
                  <a:pt x="4231215" y="6130491"/>
                  <a:pt x="483866" y="5753127"/>
                </a:cubicBezTo>
                <a:lnTo>
                  <a:pt x="0" y="5700385"/>
                </a:lnTo>
                <a:lnTo>
                  <a:pt x="0" y="3731019"/>
                </a:lnTo>
                <a:lnTo>
                  <a:pt x="92261" y="3708145"/>
                </a:lnTo>
                <a:cubicBezTo>
                  <a:pt x="430911" y="3635859"/>
                  <a:pt x="902136" y="3639908"/>
                  <a:pt x="1002891" y="3618271"/>
                </a:cubicBezTo>
                <a:cubicBezTo>
                  <a:pt x="992048" y="3621510"/>
                  <a:pt x="391872" y="3496392"/>
                  <a:pt x="25475" y="3349301"/>
                </a:cubicBezTo>
                <a:lnTo>
                  <a:pt x="0" y="3338246"/>
                </a:lnTo>
                <a:lnTo>
                  <a:pt x="0" y="2172532"/>
                </a:lnTo>
                <a:lnTo>
                  <a:pt x="31629" y="2142588"/>
                </a:lnTo>
                <a:cubicBezTo>
                  <a:pt x="905081" y="1446802"/>
                  <a:pt x="4950569" y="1355124"/>
                  <a:pt x="7181852" y="1143000"/>
                </a:cubicBezTo>
                <a:cubicBezTo>
                  <a:pt x="6322221" y="1016794"/>
                  <a:pt x="6432353" y="456605"/>
                  <a:pt x="6684468" y="45095"/>
                </a:cubicBezTo>
                <a:close/>
              </a:path>
            </a:pathLst>
          </a:custGeom>
          <a:gradFill flip="none" rotWithShape="1">
            <a:gsLst>
              <a:gs pos="90000">
                <a:schemeClr val="accent2"/>
              </a:gs>
              <a:gs pos="37000">
                <a:schemeClr val="accent3"/>
              </a:gs>
              <a:gs pos="0">
                <a:schemeClr val="accent3">
                  <a:lumMod val="50000"/>
                </a:schemeClr>
              </a:gs>
              <a:gs pos="100000">
                <a:schemeClr val="accent2">
                  <a:lumMod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91FED144-706E-40BF-05AD-D824465899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3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47D136EB-E265-B02D-31FA-D2556BEE9F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3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4B1FFFD7-DD5D-2FB2-1E99-087C94150B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2" y="2662993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1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1"/>
                </a:solidFill>
                <a:latin typeface="+mn-lt"/>
              </a:defRPr>
            </a:lvl8pPr>
            <a:lvl9pPr algn="ctr"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6956057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377633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ight Blu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0382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 Number">
            <a:extLst>
              <a:ext uri="{FF2B5EF4-FFF2-40B4-BE49-F238E27FC236}">
                <a16:creationId xmlns:a16="http://schemas.microsoft.com/office/drawing/2014/main" id="{14714A40-A869-BCD1-091E-69FC8C5C546A}"/>
              </a:ext>
            </a:extLst>
          </p:cNvPr>
          <p:cNvSpPr txBox="1">
            <a:spLocks/>
          </p:cNvSpPr>
          <p:nvPr/>
        </p:nvSpPr>
        <p:spPr>
          <a:xfrm>
            <a:off x="11233601" y="6525346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5198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 CE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</a:t>
            </a:r>
            <a:br>
              <a:rPr lang="en-GB" noProof="0"/>
            </a:br>
            <a:r>
              <a:rPr lang="en-GB" noProof="0"/>
              <a:t>Master title</a:t>
            </a:r>
            <a:br>
              <a:rPr lang="en-GB" noProof="0"/>
            </a:br>
            <a:r>
              <a:rPr lang="en-GB" noProof="0"/>
              <a:t>style</a:t>
            </a:r>
            <a:endParaRPr lang="de-DE" noProof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260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quiggle">
            <a:extLst>
              <a:ext uri="{FF2B5EF4-FFF2-40B4-BE49-F238E27FC236}">
                <a16:creationId xmlns:a16="http://schemas.microsoft.com/office/drawing/2014/main" id="{5E6E4728-D40D-35DA-66B0-22FC4E6E8CDE}"/>
              </a:ext>
            </a:extLst>
          </p:cNvPr>
          <p:cNvSpPr/>
          <p:nvPr/>
        </p:nvSpPr>
        <p:spPr>
          <a:xfrm rot="4430537">
            <a:off x="2406829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15000">
                <a:srgbClr val="01326E"/>
              </a:gs>
              <a:gs pos="30000">
                <a:srgbClr val="063878"/>
              </a:gs>
              <a:gs pos="78000">
                <a:srgbClr val="0F4287"/>
              </a:gs>
            </a:gsLst>
            <a:lin ang="15000009" scaled="1"/>
          </a:gra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C1A5A066-7C32-E9BB-5006-1E1E179DF5DD}"/>
              </a:ext>
            </a:extLst>
          </p:cNvPr>
          <p:cNvSpPr/>
          <p:nvPr/>
        </p:nvSpPr>
        <p:spPr bwMode="black">
          <a:xfrm>
            <a:off x="4368800" y="2961927"/>
            <a:ext cx="3454400" cy="934146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092718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p15="http://schemas.microsoft.com/office/powerpoint/2012/main" xmlns:a14="http://schemas.microsoft.com/office/drawing/2010/main" xmlns:a16="http://schemas.microsoft.com/office/drawing/2014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quiggle">
            <a:extLst>
              <a:ext uri="{FF2B5EF4-FFF2-40B4-BE49-F238E27FC236}">
                <a16:creationId xmlns:a16="http://schemas.microsoft.com/office/drawing/2014/main" id="{463F5D0C-65C5-086F-4E60-1F0A660F42B5}"/>
              </a:ext>
            </a:extLst>
          </p:cNvPr>
          <p:cNvSpPr/>
          <p:nvPr userDrawn="1"/>
        </p:nvSpPr>
        <p:spPr>
          <a:xfrm rot="4430537">
            <a:off x="2406828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15000">
                <a:srgbClr val="01326E"/>
              </a:gs>
              <a:gs pos="30000">
                <a:srgbClr val="063878"/>
              </a:gs>
              <a:gs pos="78000">
                <a:srgbClr val="0F4287"/>
              </a:gs>
            </a:gsLst>
            <a:lin ang="15000009" scaled="1"/>
          </a:gra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Blue Box Shape">
            <a:extLst>
              <a:ext uri="{FF2B5EF4-FFF2-40B4-BE49-F238E27FC236}">
                <a16:creationId xmlns:a16="http://schemas.microsoft.com/office/drawing/2014/main" id="{76823654-0DEA-9800-76C1-EB05AC4A18AE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baseline="0">
              <a:solidFill>
                <a:schemeClr val="tx1"/>
              </a:solidFill>
            </a:endParaRP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F9D5D955-DB32-6A5C-C407-2B252C3BFE21}"/>
              </a:ext>
            </a:extLst>
          </p:cNvPr>
          <p:cNvSpPr/>
          <p:nvPr/>
        </p:nvSpPr>
        <p:spPr bwMode="black">
          <a:xfrm>
            <a:off x="9211095" y="767924"/>
            <a:ext cx="2442107" cy="660400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BCE12DA5-FA0F-2599-53F7-72C054F2FC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D5EF7968-483B-45DB-96A0-41EC9F5D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tx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129874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:a14="http://schemas.microsoft.com/office/drawing/2010/main" xmlns:p15="http://schemas.microsoft.com/office/powerpoint/2012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light blue sw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quiggle">
            <a:extLst>
              <a:ext uri="{FF2B5EF4-FFF2-40B4-BE49-F238E27FC236}">
                <a16:creationId xmlns:a16="http://schemas.microsoft.com/office/drawing/2014/main" id="{BAF5E0ED-0333-392E-AB78-7C19A767D9DA}"/>
              </a:ext>
            </a:extLst>
          </p:cNvPr>
          <p:cNvSpPr/>
          <p:nvPr userDrawn="1"/>
        </p:nvSpPr>
        <p:spPr>
          <a:xfrm rot="4430537">
            <a:off x="2406828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solidFill>
            <a:schemeClr val="accent3">
              <a:alpha val="20000"/>
            </a:schemeClr>
          </a:soli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Logo">
            <a:extLst>
              <a:ext uri="{FF2B5EF4-FFF2-40B4-BE49-F238E27FC236}">
                <a16:creationId xmlns:a16="http://schemas.microsoft.com/office/drawing/2014/main" id="{03C3DFE9-7B51-03ED-E3F6-9296D2ECF020}"/>
              </a:ext>
            </a:extLst>
          </p:cNvPr>
          <p:cNvSpPr>
            <a:spLocks/>
          </p:cNvSpPr>
          <p:nvPr userDrawn="1"/>
        </p:nvSpPr>
        <p:spPr bwMode="black">
          <a:xfrm>
            <a:off x="9211095" y="767925"/>
            <a:ext cx="2442107" cy="660400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Blue Block">
            <a:extLst>
              <a:ext uri="{FF2B5EF4-FFF2-40B4-BE49-F238E27FC236}">
                <a16:creationId xmlns:a16="http://schemas.microsoft.com/office/drawing/2014/main" id="{7AD4D1C8-300A-85EA-CD84-2E0586AD7D57}"/>
              </a:ext>
            </a:extLst>
          </p:cNvPr>
          <p:cNvSpPr>
            <a:spLocks/>
          </p:cNvSpPr>
          <p:nvPr/>
        </p:nvSpPr>
        <p:spPr bwMode="white">
          <a:xfrm>
            <a:off x="0" y="-1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9AD7562C-8257-11ED-C6EF-B20B75504B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E8877920-AA15-4721-9894-E5C6B06DAC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15177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  <p15:guide id="2" orient="horz" pos="1207">
          <p15:clr>
            <a:srgbClr val="FBAE40"/>
          </p15:clr>
        </p15:guide>
        <p15:guide id="3" orient="horz" pos="1616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ogo">
            <a:extLst>
              <a:ext uri="{FF2B5EF4-FFF2-40B4-BE49-F238E27FC236}">
                <a16:creationId xmlns:a16="http://schemas.microsoft.com/office/drawing/2014/main" id="{71EC193D-CC43-15CD-831C-49F8CD8C16BD}"/>
              </a:ext>
            </a:extLst>
          </p:cNvPr>
          <p:cNvSpPr>
            <a:spLocks/>
          </p:cNvSpPr>
          <p:nvPr/>
        </p:nvSpPr>
        <p:spPr bwMode="black">
          <a:xfrm>
            <a:off x="9211095" y="767925"/>
            <a:ext cx="2442107" cy="660400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Blue Block">
            <a:extLst>
              <a:ext uri="{FF2B5EF4-FFF2-40B4-BE49-F238E27FC236}">
                <a16:creationId xmlns:a16="http://schemas.microsoft.com/office/drawing/2014/main" id="{D00D9B82-CF9A-0D93-6F46-B6D1542878BF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BBD3EDA2-78B7-6B49-D40E-E33D2D383B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DD0DF77D-FC8F-101B-4675-31AF887AF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75462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lue Block">
            <a:extLst>
              <a:ext uri="{FF2B5EF4-FFF2-40B4-BE49-F238E27FC236}">
                <a16:creationId xmlns:a16="http://schemas.microsoft.com/office/drawing/2014/main" id="{12453F8B-CE7E-AFE0-3462-35D246540372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0738DAB-25E3-9346-CA31-170E03F8D7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219280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C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94DFF69-2016-9DA3-0C59-AD16B7737D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13" name="Block">
            <a:extLst>
              <a:ext uri="{FF2B5EF4-FFF2-40B4-BE49-F238E27FC236}">
                <a16:creationId xmlns:a16="http://schemas.microsoft.com/office/drawing/2014/main" id="{652B8FD6-74FC-514C-F519-0CBE970EAED5}"/>
              </a:ext>
            </a:extLst>
          </p:cNvPr>
          <p:cNvGrpSpPr/>
          <p:nvPr/>
        </p:nvGrpSpPr>
        <p:grpSpPr>
          <a:xfrm>
            <a:off x="0" y="0"/>
            <a:ext cx="4876800" cy="4680000"/>
            <a:chOff x="0" y="0"/>
            <a:chExt cx="4876800" cy="4648201"/>
          </a:xfrm>
        </p:grpSpPr>
        <p:sp>
          <p:nvSpPr>
            <p:cNvPr id="8" name="Bright Blue Block">
              <a:extLst>
                <a:ext uri="{FF2B5EF4-FFF2-40B4-BE49-F238E27FC236}">
                  <a16:creationId xmlns:a16="http://schemas.microsoft.com/office/drawing/2014/main" id="{55D49043-F59D-C045-9BBB-BC80EA2A2525}"/>
                </a:ext>
              </a:extLst>
            </p:cNvPr>
            <p:cNvSpPr/>
            <p:nvPr/>
          </p:nvSpPr>
          <p:spPr bwMode="white">
            <a:xfrm>
              <a:off x="0" y="1"/>
              <a:ext cx="4876800" cy="4648200"/>
            </a:xfrm>
            <a:prstGeom prst="rect">
              <a:avLst/>
            </a:prstGeom>
            <a:gradFill>
              <a:gsLst>
                <a:gs pos="71000">
                  <a:srgbClr val="538FFF"/>
                </a:gs>
                <a:gs pos="44000">
                  <a:srgbClr val="538FFF"/>
                </a:gs>
                <a:gs pos="19000">
                  <a:srgbClr val="1E52A1">
                    <a:lumMod val="93000"/>
                    <a:lumOff val="7000"/>
                  </a:srgbClr>
                </a:gs>
                <a:gs pos="100000">
                  <a:srgbClr val="538FFF"/>
                </a:gs>
                <a:gs pos="1000">
                  <a:srgbClr val="0A3B7D"/>
                </a:gs>
              </a:gsLst>
              <a:lin ang="1332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PT">
                <a:solidFill>
                  <a:schemeClr val="lt1"/>
                </a:solidFill>
              </a:endParaRPr>
            </a:p>
          </p:txBody>
        </p:sp>
        <p:sp>
          <p:nvSpPr>
            <p:cNvPr id="11" name="Squiggle">
              <a:extLst>
                <a:ext uri="{FF2B5EF4-FFF2-40B4-BE49-F238E27FC236}">
                  <a16:creationId xmlns:a16="http://schemas.microsoft.com/office/drawing/2014/main" id="{49CD59CD-2AFD-FE85-1E90-9F7833A01A25}"/>
                </a:ext>
              </a:extLst>
            </p:cNvPr>
            <p:cNvSpPr/>
            <p:nvPr/>
          </p:nvSpPr>
          <p:spPr>
            <a:xfrm>
              <a:off x="0" y="0"/>
              <a:ext cx="4876800" cy="4648200"/>
            </a:xfrm>
            <a:custGeom>
              <a:avLst/>
              <a:gdLst>
                <a:gd name="connsiteX0" fmla="*/ 0 w 4876800"/>
                <a:gd name="connsiteY0" fmla="*/ 0 h 4648200"/>
                <a:gd name="connsiteX1" fmla="*/ 2670238 w 4876800"/>
                <a:gd name="connsiteY1" fmla="*/ 0 h 4648200"/>
                <a:gd name="connsiteX2" fmla="*/ 3251333 w 4876800"/>
                <a:gd name="connsiteY2" fmla="*/ 517355 h 4648200"/>
                <a:gd name="connsiteX3" fmla="*/ 4616160 w 4876800"/>
                <a:gd name="connsiteY3" fmla="*/ 1736231 h 4648200"/>
                <a:gd name="connsiteX4" fmla="*/ 4876800 w 4876800"/>
                <a:gd name="connsiteY4" fmla="*/ 1979901 h 4648200"/>
                <a:gd name="connsiteX5" fmla="*/ 4876800 w 4876800"/>
                <a:gd name="connsiteY5" fmla="*/ 3115238 h 4648200"/>
                <a:gd name="connsiteX6" fmla="*/ 4717223 w 4876800"/>
                <a:gd name="connsiteY6" fmla="*/ 2960531 h 4648200"/>
                <a:gd name="connsiteX7" fmla="*/ 1552986 w 4876800"/>
                <a:gd name="connsiteY7" fmla="*/ 109887 h 4648200"/>
                <a:gd name="connsiteX8" fmla="*/ 4260751 w 4876800"/>
                <a:gd name="connsiteY8" fmla="*/ 4355467 h 4648200"/>
                <a:gd name="connsiteX9" fmla="*/ 4417260 w 4876800"/>
                <a:gd name="connsiteY9" fmla="*/ 4648200 h 4648200"/>
                <a:gd name="connsiteX10" fmla="*/ 390191 w 4876800"/>
                <a:gd name="connsiteY10" fmla="*/ 4648200 h 4648200"/>
                <a:gd name="connsiteX11" fmla="*/ 4695 w 4876800"/>
                <a:gd name="connsiteY11" fmla="*/ 4056511 h 4648200"/>
                <a:gd name="connsiteX12" fmla="*/ 0 w 4876800"/>
                <a:gd name="connsiteY12" fmla="*/ 4024130 h 4648200"/>
                <a:gd name="connsiteX13" fmla="*/ 0 w 4876800"/>
                <a:gd name="connsiteY13" fmla="*/ 2392129 h 4648200"/>
                <a:gd name="connsiteX14" fmla="*/ 160541 w 4876800"/>
                <a:gd name="connsiteY14" fmla="*/ 2447325 h 4648200"/>
                <a:gd name="connsiteX15" fmla="*/ 1735139 w 4876800"/>
                <a:gd name="connsiteY15" fmla="*/ 3206469 h 4648200"/>
                <a:gd name="connsiteX16" fmla="*/ 108175 w 4876800"/>
                <a:gd name="connsiteY16" fmla="*/ 418305 h 4648200"/>
                <a:gd name="connsiteX17" fmla="*/ 0 w 4876800"/>
                <a:gd name="connsiteY17" fmla="*/ 258755 h 464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76800" h="4648200">
                  <a:moveTo>
                    <a:pt x="0" y="0"/>
                  </a:moveTo>
                  <a:lnTo>
                    <a:pt x="2670238" y="0"/>
                  </a:lnTo>
                  <a:lnTo>
                    <a:pt x="3251333" y="517355"/>
                  </a:lnTo>
                  <a:cubicBezTo>
                    <a:pt x="3703273" y="916643"/>
                    <a:pt x="4152812" y="1310328"/>
                    <a:pt x="4616160" y="1736231"/>
                  </a:cubicBezTo>
                  <a:lnTo>
                    <a:pt x="4876800" y="1979901"/>
                  </a:lnTo>
                  <a:lnTo>
                    <a:pt x="4876800" y="3115238"/>
                  </a:lnTo>
                  <a:lnTo>
                    <a:pt x="4717223" y="2960531"/>
                  </a:lnTo>
                  <a:cubicBezTo>
                    <a:pt x="2977630" y="1278774"/>
                    <a:pt x="2656650" y="1112355"/>
                    <a:pt x="1552986" y="109887"/>
                  </a:cubicBezTo>
                  <a:cubicBezTo>
                    <a:pt x="2546389" y="1475815"/>
                    <a:pt x="2400157" y="885368"/>
                    <a:pt x="4260751" y="4355467"/>
                  </a:cubicBezTo>
                  <a:lnTo>
                    <a:pt x="4417260" y="4648200"/>
                  </a:lnTo>
                  <a:lnTo>
                    <a:pt x="390191" y="4648200"/>
                  </a:lnTo>
                  <a:lnTo>
                    <a:pt x="4695" y="4056511"/>
                  </a:lnTo>
                  <a:lnTo>
                    <a:pt x="0" y="4024130"/>
                  </a:lnTo>
                  <a:lnTo>
                    <a:pt x="0" y="2392129"/>
                  </a:lnTo>
                  <a:lnTo>
                    <a:pt x="160541" y="2447325"/>
                  </a:lnTo>
                  <a:cubicBezTo>
                    <a:pt x="586623" y="2597715"/>
                    <a:pt x="1118268" y="2816866"/>
                    <a:pt x="1735139" y="3206469"/>
                  </a:cubicBezTo>
                  <a:cubicBezTo>
                    <a:pt x="1612651" y="2856712"/>
                    <a:pt x="816105" y="1476499"/>
                    <a:pt x="108175" y="418305"/>
                  </a:cubicBezTo>
                  <a:lnTo>
                    <a:pt x="0" y="258755"/>
                  </a:lnTo>
                  <a:close/>
                </a:path>
              </a:pathLst>
            </a:custGeom>
            <a:gradFill>
              <a:gsLst>
                <a:gs pos="100000">
                  <a:srgbClr val="356DCA"/>
                </a:gs>
                <a:gs pos="0">
                  <a:srgbClr val="3067C1">
                    <a:lumMod val="93000"/>
                    <a:lumOff val="7000"/>
                  </a:srgbClr>
                </a:gs>
              </a:gsLst>
              <a:lin ang="18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66110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C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CD45725-0FF6-4B65-0D2B-7A5FCDC3F38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Orange Block">
            <a:extLst>
              <a:ext uri="{FF2B5EF4-FFF2-40B4-BE49-F238E27FC236}">
                <a16:creationId xmlns:a16="http://schemas.microsoft.com/office/drawing/2014/main" id="{DB0B598B-C9D6-DAE8-E909-26110C40CEA7}"/>
              </a:ext>
            </a:extLst>
          </p:cNvPr>
          <p:cNvSpPr/>
          <p:nvPr/>
        </p:nvSpPr>
        <p:spPr bwMode="white">
          <a:xfrm>
            <a:off x="0" y="-1"/>
            <a:ext cx="4876800" cy="4680000"/>
          </a:xfrm>
          <a:prstGeom prst="rect">
            <a:avLst/>
          </a:prstGeom>
          <a:gradFill>
            <a:gsLst>
              <a:gs pos="35000">
                <a:srgbClr val="E65A03"/>
              </a:gs>
              <a:gs pos="100000">
                <a:srgbClr val="F07900"/>
              </a:gs>
              <a:gs pos="0">
                <a:srgbClr val="E55703"/>
              </a:gs>
            </a:gsLst>
            <a:lin ang="189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algn="ctr" defTabSz="91440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endParaRPr kumimoji="0" lang="en-PT" b="0" i="0" u="none" strike="noStrike" kern="0" cap="none" spc="0" normalizeH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6" name="Squiggle 2">
            <a:extLst>
              <a:ext uri="{FF2B5EF4-FFF2-40B4-BE49-F238E27FC236}">
                <a16:creationId xmlns:a16="http://schemas.microsoft.com/office/drawing/2014/main" id="{4F9839D8-DD34-BF32-8C9A-D4A351E9EF3D}"/>
              </a:ext>
            </a:extLst>
          </p:cNvPr>
          <p:cNvSpPr/>
          <p:nvPr/>
        </p:nvSpPr>
        <p:spPr>
          <a:xfrm>
            <a:off x="406400" y="1949493"/>
            <a:ext cx="4458342" cy="2730506"/>
          </a:xfrm>
          <a:custGeom>
            <a:avLst/>
            <a:gdLst>
              <a:gd name="connsiteX0" fmla="*/ 4458342 w 4458342"/>
              <a:gd name="connsiteY0" fmla="*/ 68 h 2730506"/>
              <a:gd name="connsiteX1" fmla="*/ 4448817 w 4458342"/>
              <a:gd name="connsiteY1" fmla="*/ 2721043 h 2730506"/>
              <a:gd name="connsiteX2" fmla="*/ 4174621 w 4458342"/>
              <a:gd name="connsiteY2" fmla="*/ 2728793 h 2730506"/>
              <a:gd name="connsiteX3" fmla="*/ 4144911 w 4458342"/>
              <a:gd name="connsiteY3" fmla="*/ 2730506 h 2730506"/>
              <a:gd name="connsiteX4" fmla="*/ 2623679 w 4458342"/>
              <a:gd name="connsiteY4" fmla="*/ 2730506 h 2730506"/>
              <a:gd name="connsiteX5" fmla="*/ 2661479 w 4458342"/>
              <a:gd name="connsiteY5" fmla="*/ 2630001 h 2730506"/>
              <a:gd name="connsiteX6" fmla="*/ 3376488 w 4458342"/>
              <a:gd name="connsiteY6" fmla="*/ 1150378 h 2730506"/>
              <a:gd name="connsiteX7" fmla="*/ 2275273 w 4458342"/>
              <a:gd name="connsiteY7" fmla="*/ 1976289 h 2730506"/>
              <a:gd name="connsiteX8" fmla="*/ 1294379 w 4458342"/>
              <a:gd name="connsiteY8" fmla="*/ 2730506 h 2730506"/>
              <a:gd name="connsiteX9" fmla="*/ 0 w 4458342"/>
              <a:gd name="connsiteY9" fmla="*/ 2730506 h 2730506"/>
              <a:gd name="connsiteX10" fmla="*/ 74915 w 4458342"/>
              <a:gd name="connsiteY10" fmla="*/ 2634677 h 2730506"/>
              <a:gd name="connsiteX11" fmla="*/ 2197742 w 4458342"/>
              <a:gd name="connsiteY11" fmla="*/ 1114493 h 2730506"/>
              <a:gd name="connsiteX12" fmla="*/ 4458342 w 4458342"/>
              <a:gd name="connsiteY12" fmla="*/ 68 h 2730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58342" h="2730506">
                <a:moveTo>
                  <a:pt x="4458342" y="68"/>
                </a:moveTo>
                <a:lnTo>
                  <a:pt x="4448817" y="2721043"/>
                </a:lnTo>
                <a:cubicBezTo>
                  <a:pt x="4362232" y="2721837"/>
                  <a:pt x="4270538" y="2724522"/>
                  <a:pt x="4174621" y="2728793"/>
                </a:cubicBezTo>
                <a:lnTo>
                  <a:pt x="4144911" y="2730506"/>
                </a:lnTo>
                <a:lnTo>
                  <a:pt x="2623679" y="2730506"/>
                </a:lnTo>
                <a:lnTo>
                  <a:pt x="2661479" y="2630001"/>
                </a:lnTo>
                <a:cubicBezTo>
                  <a:pt x="2867822" y="2113582"/>
                  <a:pt x="3178614" y="1530354"/>
                  <a:pt x="3376488" y="1150378"/>
                </a:cubicBezTo>
                <a:lnTo>
                  <a:pt x="2275273" y="1976289"/>
                </a:lnTo>
                <a:lnTo>
                  <a:pt x="1294379" y="2730506"/>
                </a:lnTo>
                <a:lnTo>
                  <a:pt x="0" y="2730506"/>
                </a:lnTo>
                <a:lnTo>
                  <a:pt x="74915" y="2634677"/>
                </a:lnTo>
                <a:cubicBezTo>
                  <a:pt x="465021" y="2199819"/>
                  <a:pt x="1632451" y="1506964"/>
                  <a:pt x="2197742" y="1114493"/>
                </a:cubicBezTo>
                <a:cubicBezTo>
                  <a:pt x="2951463" y="591198"/>
                  <a:pt x="4424475" y="-7340"/>
                  <a:pt x="4458342" y="68"/>
                </a:cubicBezTo>
                <a:close/>
              </a:path>
            </a:pathLst>
          </a:custGeom>
          <a:gradFill>
            <a:gsLst>
              <a:gs pos="70000">
                <a:srgbClr val="E86301"/>
              </a:gs>
              <a:gs pos="35000">
                <a:srgbClr val="E86101"/>
              </a:gs>
              <a:gs pos="100000">
                <a:srgbClr val="E86101"/>
              </a:gs>
              <a:gs pos="0">
                <a:srgbClr val="E86201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Squiggle 1">
            <a:extLst>
              <a:ext uri="{FF2B5EF4-FFF2-40B4-BE49-F238E27FC236}">
                <a16:creationId xmlns:a16="http://schemas.microsoft.com/office/drawing/2014/main" id="{C37ACE55-304C-EC98-D7F7-78C4D2DAA204}"/>
              </a:ext>
            </a:extLst>
          </p:cNvPr>
          <p:cNvSpPr/>
          <p:nvPr/>
        </p:nvSpPr>
        <p:spPr>
          <a:xfrm>
            <a:off x="12700" y="12700"/>
            <a:ext cx="3143251" cy="4076700"/>
          </a:xfrm>
          <a:custGeom>
            <a:avLst/>
            <a:gdLst>
              <a:gd name="connsiteX0" fmla="*/ 0 w 3143251"/>
              <a:gd name="connsiteY0" fmla="*/ 0 h 4076700"/>
              <a:gd name="connsiteX1" fmla="*/ 3143251 w 3143251"/>
              <a:gd name="connsiteY1" fmla="*/ 0 h 4076700"/>
              <a:gd name="connsiteX2" fmla="*/ 1743076 w 3143251"/>
              <a:gd name="connsiteY2" fmla="*/ 1943100 h 4076700"/>
              <a:gd name="connsiteX3" fmla="*/ 0 w 3143251"/>
              <a:gd name="connsiteY3" fmla="*/ 4076700 h 4076700"/>
              <a:gd name="connsiteX4" fmla="*/ 0 w 3143251"/>
              <a:gd name="connsiteY4" fmla="*/ 2040508 h 4076700"/>
              <a:gd name="connsiteX5" fmla="*/ 21267 w 3143251"/>
              <a:gd name="connsiteY5" fmla="*/ 2008537 h 4076700"/>
              <a:gd name="connsiteX6" fmla="*/ 460479 w 3143251"/>
              <a:gd name="connsiteY6" fmla="*/ 1482537 h 4076700"/>
              <a:gd name="connsiteX7" fmla="*/ 10638 w 3143251"/>
              <a:gd name="connsiteY7" fmla="*/ 1717593 h 4076700"/>
              <a:gd name="connsiteX8" fmla="*/ 0 w 3143251"/>
              <a:gd name="connsiteY8" fmla="*/ 172251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43251" h="4076700">
                <a:moveTo>
                  <a:pt x="0" y="0"/>
                </a:moveTo>
                <a:lnTo>
                  <a:pt x="3143251" y="0"/>
                </a:lnTo>
                <a:cubicBezTo>
                  <a:pt x="2781301" y="647700"/>
                  <a:pt x="2209801" y="1295400"/>
                  <a:pt x="1743076" y="1943100"/>
                </a:cubicBezTo>
                <a:cubicBezTo>
                  <a:pt x="1219201" y="2622550"/>
                  <a:pt x="871538" y="3009900"/>
                  <a:pt x="0" y="4076700"/>
                </a:cubicBezTo>
                <a:lnTo>
                  <a:pt x="0" y="2040508"/>
                </a:lnTo>
                <a:lnTo>
                  <a:pt x="21267" y="2008537"/>
                </a:lnTo>
                <a:cubicBezTo>
                  <a:pt x="166305" y="1796335"/>
                  <a:pt x="232480" y="1770389"/>
                  <a:pt x="460479" y="1482537"/>
                </a:cubicBezTo>
                <a:lnTo>
                  <a:pt x="10638" y="1717593"/>
                </a:lnTo>
                <a:lnTo>
                  <a:pt x="0" y="1722510"/>
                </a:lnTo>
                <a:close/>
              </a:path>
            </a:pathLst>
          </a:custGeom>
          <a:gradFill>
            <a:gsLst>
              <a:gs pos="70000">
                <a:srgbClr val="EB6A01"/>
              </a:gs>
              <a:gs pos="35000">
                <a:srgbClr val="EA6801"/>
              </a:gs>
              <a:gs pos="100000">
                <a:srgbClr val="EB6A01"/>
              </a:gs>
              <a:gs pos="0">
                <a:srgbClr val="EB6A01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1114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528A10-E9D5-56B2-BAA2-A2CFEBBCA5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Green Block">
            <a:extLst>
              <a:ext uri="{FF2B5EF4-FFF2-40B4-BE49-F238E27FC236}">
                <a16:creationId xmlns:a16="http://schemas.microsoft.com/office/drawing/2014/main" id="{61D5DE2B-4FC1-5593-B3EE-6E52BCCF57EB}"/>
              </a:ext>
            </a:extLst>
          </p:cNvPr>
          <p:cNvSpPr/>
          <p:nvPr/>
        </p:nvSpPr>
        <p:spPr bwMode="white">
          <a:xfrm>
            <a:off x="0" y="1"/>
            <a:ext cx="4876800" cy="4680000"/>
          </a:xfrm>
          <a:prstGeom prst="rect">
            <a:avLst/>
          </a:prstGeom>
          <a:gradFill>
            <a:gsLst>
              <a:gs pos="100000">
                <a:srgbClr val="00B8E1"/>
              </a:gs>
              <a:gs pos="0">
                <a:srgbClr val="00BF34"/>
              </a:gs>
            </a:gsLst>
            <a:lin ang="189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algn="ctr" defTabSz="91440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endParaRPr kumimoji="0" lang="en-PT" b="0" i="0" u="none" strike="noStrike" kern="0" cap="none" spc="0" normalizeH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11" name="Squiggle 2">
            <a:extLst>
              <a:ext uri="{FF2B5EF4-FFF2-40B4-BE49-F238E27FC236}">
                <a16:creationId xmlns:a16="http://schemas.microsoft.com/office/drawing/2014/main" id="{8CC02ACD-8210-40F4-BF0E-D9A8942532F0}"/>
              </a:ext>
            </a:extLst>
          </p:cNvPr>
          <p:cNvSpPr/>
          <p:nvPr/>
        </p:nvSpPr>
        <p:spPr>
          <a:xfrm>
            <a:off x="406400" y="1949495"/>
            <a:ext cx="4458342" cy="2730506"/>
          </a:xfrm>
          <a:custGeom>
            <a:avLst/>
            <a:gdLst>
              <a:gd name="connsiteX0" fmla="*/ 4458342 w 4458342"/>
              <a:gd name="connsiteY0" fmla="*/ 68 h 2730506"/>
              <a:gd name="connsiteX1" fmla="*/ 4448817 w 4458342"/>
              <a:gd name="connsiteY1" fmla="*/ 2721043 h 2730506"/>
              <a:gd name="connsiteX2" fmla="*/ 4174621 w 4458342"/>
              <a:gd name="connsiteY2" fmla="*/ 2728793 h 2730506"/>
              <a:gd name="connsiteX3" fmla="*/ 4144911 w 4458342"/>
              <a:gd name="connsiteY3" fmla="*/ 2730506 h 2730506"/>
              <a:gd name="connsiteX4" fmla="*/ 2623679 w 4458342"/>
              <a:gd name="connsiteY4" fmla="*/ 2730506 h 2730506"/>
              <a:gd name="connsiteX5" fmla="*/ 2661479 w 4458342"/>
              <a:gd name="connsiteY5" fmla="*/ 2630001 h 2730506"/>
              <a:gd name="connsiteX6" fmla="*/ 3376488 w 4458342"/>
              <a:gd name="connsiteY6" fmla="*/ 1150378 h 2730506"/>
              <a:gd name="connsiteX7" fmla="*/ 2275273 w 4458342"/>
              <a:gd name="connsiteY7" fmla="*/ 1976289 h 2730506"/>
              <a:gd name="connsiteX8" fmla="*/ 1294379 w 4458342"/>
              <a:gd name="connsiteY8" fmla="*/ 2730506 h 2730506"/>
              <a:gd name="connsiteX9" fmla="*/ 0 w 4458342"/>
              <a:gd name="connsiteY9" fmla="*/ 2730506 h 2730506"/>
              <a:gd name="connsiteX10" fmla="*/ 74915 w 4458342"/>
              <a:gd name="connsiteY10" fmla="*/ 2634677 h 2730506"/>
              <a:gd name="connsiteX11" fmla="*/ 2197742 w 4458342"/>
              <a:gd name="connsiteY11" fmla="*/ 1114493 h 2730506"/>
              <a:gd name="connsiteX12" fmla="*/ 4458342 w 4458342"/>
              <a:gd name="connsiteY12" fmla="*/ 68 h 2730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58342" h="2730506">
                <a:moveTo>
                  <a:pt x="4458342" y="68"/>
                </a:moveTo>
                <a:lnTo>
                  <a:pt x="4448817" y="2721043"/>
                </a:lnTo>
                <a:cubicBezTo>
                  <a:pt x="4362232" y="2721837"/>
                  <a:pt x="4270538" y="2724522"/>
                  <a:pt x="4174621" y="2728793"/>
                </a:cubicBezTo>
                <a:lnTo>
                  <a:pt x="4144911" y="2730506"/>
                </a:lnTo>
                <a:lnTo>
                  <a:pt x="2623679" y="2730506"/>
                </a:lnTo>
                <a:lnTo>
                  <a:pt x="2661479" y="2630001"/>
                </a:lnTo>
                <a:cubicBezTo>
                  <a:pt x="2867822" y="2113582"/>
                  <a:pt x="3178614" y="1530354"/>
                  <a:pt x="3376488" y="1150378"/>
                </a:cubicBezTo>
                <a:lnTo>
                  <a:pt x="2275273" y="1976289"/>
                </a:lnTo>
                <a:lnTo>
                  <a:pt x="1294379" y="2730506"/>
                </a:lnTo>
                <a:lnTo>
                  <a:pt x="0" y="2730506"/>
                </a:lnTo>
                <a:lnTo>
                  <a:pt x="74915" y="2634677"/>
                </a:lnTo>
                <a:cubicBezTo>
                  <a:pt x="465021" y="2199819"/>
                  <a:pt x="1632451" y="1506964"/>
                  <a:pt x="2197742" y="1114493"/>
                </a:cubicBezTo>
                <a:cubicBezTo>
                  <a:pt x="2951463" y="591198"/>
                  <a:pt x="4424475" y="-7340"/>
                  <a:pt x="4458342" y="68"/>
                </a:cubicBezTo>
                <a:close/>
              </a:path>
            </a:pathLst>
          </a:custGeom>
          <a:gradFill>
            <a:gsLst>
              <a:gs pos="70000">
                <a:srgbClr val="00B9B4"/>
              </a:gs>
              <a:gs pos="35000">
                <a:srgbClr val="00BAA8"/>
              </a:gs>
              <a:gs pos="100000">
                <a:srgbClr val="00B9BD"/>
              </a:gs>
              <a:gs pos="0">
                <a:srgbClr val="00BAA0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Squiggle 1">
            <a:extLst>
              <a:ext uri="{FF2B5EF4-FFF2-40B4-BE49-F238E27FC236}">
                <a16:creationId xmlns:a16="http://schemas.microsoft.com/office/drawing/2014/main" id="{1685A533-6680-6637-C9CD-3D80C64A7375}"/>
              </a:ext>
            </a:extLst>
          </p:cNvPr>
          <p:cNvSpPr/>
          <p:nvPr/>
        </p:nvSpPr>
        <p:spPr>
          <a:xfrm>
            <a:off x="12700" y="12700"/>
            <a:ext cx="3143251" cy="4076700"/>
          </a:xfrm>
          <a:custGeom>
            <a:avLst/>
            <a:gdLst>
              <a:gd name="connsiteX0" fmla="*/ 0 w 3143251"/>
              <a:gd name="connsiteY0" fmla="*/ 0 h 4076700"/>
              <a:gd name="connsiteX1" fmla="*/ 3143251 w 3143251"/>
              <a:gd name="connsiteY1" fmla="*/ 0 h 4076700"/>
              <a:gd name="connsiteX2" fmla="*/ 1743076 w 3143251"/>
              <a:gd name="connsiteY2" fmla="*/ 1943100 h 4076700"/>
              <a:gd name="connsiteX3" fmla="*/ 0 w 3143251"/>
              <a:gd name="connsiteY3" fmla="*/ 4076700 h 4076700"/>
              <a:gd name="connsiteX4" fmla="*/ 0 w 3143251"/>
              <a:gd name="connsiteY4" fmla="*/ 2040508 h 4076700"/>
              <a:gd name="connsiteX5" fmla="*/ 21267 w 3143251"/>
              <a:gd name="connsiteY5" fmla="*/ 2008537 h 4076700"/>
              <a:gd name="connsiteX6" fmla="*/ 460479 w 3143251"/>
              <a:gd name="connsiteY6" fmla="*/ 1482537 h 4076700"/>
              <a:gd name="connsiteX7" fmla="*/ 10638 w 3143251"/>
              <a:gd name="connsiteY7" fmla="*/ 1717593 h 4076700"/>
              <a:gd name="connsiteX8" fmla="*/ 0 w 3143251"/>
              <a:gd name="connsiteY8" fmla="*/ 172251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43251" h="4076700">
                <a:moveTo>
                  <a:pt x="0" y="0"/>
                </a:moveTo>
                <a:lnTo>
                  <a:pt x="3143251" y="0"/>
                </a:lnTo>
                <a:cubicBezTo>
                  <a:pt x="2781301" y="647700"/>
                  <a:pt x="2209801" y="1295400"/>
                  <a:pt x="1743076" y="1943100"/>
                </a:cubicBezTo>
                <a:cubicBezTo>
                  <a:pt x="1219201" y="2622550"/>
                  <a:pt x="871538" y="3009900"/>
                  <a:pt x="0" y="4076700"/>
                </a:cubicBezTo>
                <a:lnTo>
                  <a:pt x="0" y="2040508"/>
                </a:lnTo>
                <a:lnTo>
                  <a:pt x="21267" y="2008537"/>
                </a:lnTo>
                <a:cubicBezTo>
                  <a:pt x="166305" y="1796335"/>
                  <a:pt x="232480" y="1770389"/>
                  <a:pt x="460479" y="1482537"/>
                </a:cubicBezTo>
                <a:lnTo>
                  <a:pt x="10638" y="1717593"/>
                </a:lnTo>
                <a:lnTo>
                  <a:pt x="0" y="1722510"/>
                </a:lnTo>
                <a:close/>
              </a:path>
            </a:pathLst>
          </a:custGeom>
          <a:gradFill>
            <a:gsLst>
              <a:gs pos="70000">
                <a:srgbClr val="00BB8B"/>
              </a:gs>
              <a:gs pos="35000">
                <a:srgbClr val="00BC8B"/>
              </a:gs>
              <a:gs pos="100000">
                <a:srgbClr val="00BA9A"/>
              </a:gs>
              <a:gs pos="0">
                <a:srgbClr val="00BC69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50422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7A49053-BE6C-1C4D-CB70-DBBAF999C80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2687011-3214-FD25-1181-F605A9CA6455}"/>
              </a:ext>
            </a:extLst>
          </p:cNvPr>
          <p:cNvSpPr/>
          <p:nvPr userDrawn="1"/>
        </p:nvSpPr>
        <p:spPr bwMode="white">
          <a:xfrm>
            <a:off x="0" y="-1"/>
            <a:ext cx="4876800" cy="4680000"/>
          </a:xfrm>
          <a:prstGeom prst="rect">
            <a:avLst/>
          </a:prstGeom>
          <a:gradFill flip="none" rotWithShape="1">
            <a:gsLst>
              <a:gs pos="50000">
                <a:srgbClr val="3AAEF6"/>
              </a:gs>
              <a:gs pos="100000">
                <a:srgbClr val="4F9DFD"/>
              </a:gs>
              <a:gs pos="0">
                <a:srgbClr val="04B8E2"/>
              </a:gs>
            </a:gsLst>
            <a:lin ang="18000000" scaled="0"/>
            <a:tileRect/>
          </a:gradFill>
        </p:spPr>
        <p:txBody>
          <a:bodyPr rtlCol="0" anchor="ctr"/>
          <a:lstStyle/>
          <a:p>
            <a:pPr marR="0" lvl="0" algn="ctr" defTabSz="91440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endParaRPr kumimoji="0" lang="en-PT" b="0" i="0" u="none" strike="noStrike" kern="0" cap="none" spc="0" normalizeH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6" name="Squiggle">
            <a:extLst>
              <a:ext uri="{FF2B5EF4-FFF2-40B4-BE49-F238E27FC236}">
                <a16:creationId xmlns:a16="http://schemas.microsoft.com/office/drawing/2014/main" id="{18F540EF-87D8-0E44-F690-9F7604110481}"/>
              </a:ext>
            </a:extLst>
          </p:cNvPr>
          <p:cNvSpPr/>
          <p:nvPr/>
        </p:nvSpPr>
        <p:spPr>
          <a:xfrm>
            <a:off x="0" y="0"/>
            <a:ext cx="4876800" cy="4680000"/>
          </a:xfrm>
          <a:custGeom>
            <a:avLst/>
            <a:gdLst>
              <a:gd name="connsiteX0" fmla="*/ 4876800 w 4876800"/>
              <a:gd name="connsiteY0" fmla="*/ 3948026 h 4648200"/>
              <a:gd name="connsiteX1" fmla="*/ 4876800 w 4876800"/>
              <a:gd name="connsiteY1" fmla="*/ 4648200 h 4648200"/>
              <a:gd name="connsiteX2" fmla="*/ 3641772 w 4876800"/>
              <a:gd name="connsiteY2" fmla="*/ 4648200 h 4648200"/>
              <a:gd name="connsiteX3" fmla="*/ 2979537 w 4876800"/>
              <a:gd name="connsiteY3" fmla="*/ 0 h 4648200"/>
              <a:gd name="connsiteX4" fmla="*/ 4799703 w 4876800"/>
              <a:gd name="connsiteY4" fmla="*/ 0 h 4648200"/>
              <a:gd name="connsiteX5" fmla="*/ 4807781 w 4876800"/>
              <a:gd name="connsiteY5" fmla="*/ 25078 h 4648200"/>
              <a:gd name="connsiteX6" fmla="*/ 4876075 w 4876800"/>
              <a:gd name="connsiteY6" fmla="*/ 276777 h 4648200"/>
              <a:gd name="connsiteX7" fmla="*/ 4876800 w 4876800"/>
              <a:gd name="connsiteY7" fmla="*/ 279858 h 4648200"/>
              <a:gd name="connsiteX8" fmla="*/ 4876800 w 4876800"/>
              <a:gd name="connsiteY8" fmla="*/ 2099726 h 4648200"/>
              <a:gd name="connsiteX9" fmla="*/ 3571982 w 4876800"/>
              <a:gd name="connsiteY9" fmla="*/ 4648200 h 4648200"/>
              <a:gd name="connsiteX10" fmla="*/ 57811 w 4876800"/>
              <a:gd name="connsiteY10" fmla="*/ 4648200 h 4648200"/>
              <a:gd name="connsiteX11" fmla="*/ 671862 w 4876800"/>
              <a:gd name="connsiteY11" fmla="*/ 0 h 4648200"/>
              <a:gd name="connsiteX12" fmla="*/ 2817209 w 4876800"/>
              <a:gd name="connsiteY12" fmla="*/ 0 h 4648200"/>
              <a:gd name="connsiteX13" fmla="*/ 0 w 4876800"/>
              <a:gd name="connsiteY13" fmla="*/ 2583289 h 4648200"/>
              <a:gd name="connsiteX14" fmla="*/ 0 w 4876800"/>
              <a:gd name="connsiteY14" fmla="*/ 534044 h 464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876800" h="4648200">
                <a:moveTo>
                  <a:pt x="4876800" y="3948026"/>
                </a:moveTo>
                <a:lnTo>
                  <a:pt x="4876800" y="4648200"/>
                </a:lnTo>
                <a:lnTo>
                  <a:pt x="3641772" y="4648200"/>
                </a:lnTo>
                <a:close/>
                <a:moveTo>
                  <a:pt x="2979537" y="0"/>
                </a:moveTo>
                <a:lnTo>
                  <a:pt x="4799703" y="0"/>
                </a:lnTo>
                <a:lnTo>
                  <a:pt x="4807781" y="25078"/>
                </a:lnTo>
                <a:cubicBezTo>
                  <a:pt x="4831182" y="102611"/>
                  <a:pt x="4853944" y="186832"/>
                  <a:pt x="4876075" y="276777"/>
                </a:cubicBezTo>
                <a:lnTo>
                  <a:pt x="4876800" y="279858"/>
                </a:lnTo>
                <a:lnTo>
                  <a:pt x="4876800" y="2099726"/>
                </a:lnTo>
                <a:lnTo>
                  <a:pt x="3571982" y="4648200"/>
                </a:lnTo>
                <a:lnTo>
                  <a:pt x="57811" y="4648200"/>
                </a:lnTo>
                <a:close/>
                <a:moveTo>
                  <a:pt x="671862" y="0"/>
                </a:moveTo>
                <a:lnTo>
                  <a:pt x="2817209" y="0"/>
                </a:lnTo>
                <a:lnTo>
                  <a:pt x="0" y="2583289"/>
                </a:lnTo>
                <a:lnTo>
                  <a:pt x="0" y="534044"/>
                </a:lnTo>
                <a:close/>
              </a:path>
            </a:pathLst>
          </a:custGeom>
          <a:gradFill>
            <a:gsLst>
              <a:gs pos="100000">
                <a:srgbClr val="399BF5"/>
              </a:gs>
              <a:gs pos="0">
                <a:srgbClr val="26A4EE"/>
              </a:gs>
            </a:gsLst>
            <a:lin ang="16200000" scaled="0"/>
          </a:gra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03200" tIns="203200" rIns="203200" bIns="203200" rtlCol="0" anchor="ctr">
            <a:noAutofit/>
          </a:bodyPr>
          <a:lstStyle/>
          <a:p>
            <a:pPr algn="ctr" defTabSz="486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046110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41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 (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</a:t>
            </a:r>
            <a:br>
              <a:rPr lang="en-GB" noProof="0"/>
            </a:br>
            <a:r>
              <a:rPr lang="en-GB" noProof="0"/>
              <a:t>Master title</a:t>
            </a:r>
            <a:br>
              <a:rPr lang="en-GB" noProof="0"/>
            </a:br>
            <a:r>
              <a:rPr lang="en-GB" noProof="0"/>
              <a:t>style</a:t>
            </a:r>
            <a:endParaRPr lang="de-DE" noProof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7984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C (Mid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232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CC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806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 CE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260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 (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7984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338A8E-AC52-8E78-8332-38A3B4F13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16944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p15="http://schemas.microsoft.com/office/powerpoint/2012/main" xmlns:a16="http://schemas.microsoft.com/office/drawing/2014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>
            <a:extLst>
              <a:ext uri="{FF2B5EF4-FFF2-40B4-BE49-F238E27FC236}">
                <a16:creationId xmlns:a16="http://schemas.microsoft.com/office/drawing/2014/main" id="{DB4EAF0F-926C-C687-2CAB-EBECD17C8A7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2000" y="1700808"/>
            <a:ext cx="11088001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034C86-AB12-63AB-0C99-237B154741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C48087-4076-5754-C666-1808BF3AAA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2000" y="956760"/>
            <a:ext cx="11088001" cy="312009"/>
          </a:xfrm>
        </p:spPr>
        <p:txBody>
          <a:bodyPr/>
          <a:lstStyle>
            <a:lvl1pPr>
              <a:defRPr lang="en-GB" sz="2000" b="0" i="0" kern="1200" spc="0" baseline="0" dirty="0">
                <a:solidFill>
                  <a:schemeClr val="accent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lvl="0" indent="0" algn="l" defTabSz="972000" rtl="0" eaLnBrk="1" latinLnBrk="0" hangingPunct="1">
              <a:lnSpc>
                <a:spcPct val="105000"/>
              </a:lnSpc>
              <a:spcBef>
                <a:spcPct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414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p15="http://schemas.microsoft.com/office/powerpoint/2012/main" xmlns:a14="http://schemas.microsoft.com/office/drawing/2010/main" xmlns:a16="http://schemas.microsoft.com/office/drawing/2014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">
            <a:extLst>
              <a:ext uri="{FF2B5EF4-FFF2-40B4-BE49-F238E27FC236}">
                <a16:creationId xmlns:a16="http://schemas.microsoft.com/office/drawing/2014/main" id="{295C4B23-21F2-2145-95FE-3AB8A616154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66001" y="1700808"/>
            <a:ext cx="5274000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C1BC992A-302B-241D-8898-D33B51BF79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52000" y="1700808"/>
            <a:ext cx="5274000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B581B0-C9DC-746F-44A6-3536C5D57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" name="Subhead">
            <a:extLst>
              <a:ext uri="{FF2B5EF4-FFF2-40B4-BE49-F238E27FC236}">
                <a16:creationId xmlns:a16="http://schemas.microsoft.com/office/drawing/2014/main" id="{A2B96E86-1CA0-A5C9-1706-E774568A41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2000" y="956760"/>
            <a:ext cx="11088001" cy="31200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GB" sz="2000" b="0" i="0" spc="0">
                <a:solidFill>
                  <a:schemeClr val="accent2"/>
                </a:solidFill>
                <a:ea typeface="+mj-ea"/>
                <a:cs typeface="+mj-cs"/>
              </a:defRPr>
            </a:lvl1pPr>
            <a:lvl2pPr marL="0" indent="0">
              <a:buNone/>
              <a:defRPr lang="en-GB"/>
            </a:lvl2pPr>
            <a:lvl3pPr>
              <a:defRPr lang="en-GB"/>
            </a:lvl3pPr>
            <a:lvl4pPr>
              <a:defRPr lang="en-GB" sz="1200"/>
            </a:lvl4pPr>
            <a:lvl5pPr>
              <a:defRPr lang="en-US" sz="1400">
                <a:solidFill>
                  <a:schemeClr val="tx1"/>
                </a:solidFill>
                <a:latin typeface="+mn-lt"/>
              </a:defRPr>
            </a:lvl5pPr>
          </a:lstStyle>
          <a:p>
            <a:pPr lvl="0" defTabSz="972000">
              <a:spcBef>
                <a:spcPct val="0"/>
              </a:spcBef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489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009">
          <p15:clr>
            <a:srgbClr val="FBAE40"/>
          </p15:clr>
        </p15:guide>
        <p15:guide id="2" pos="3681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woosh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quiggle">
            <a:extLst>
              <a:ext uri="{FF2B5EF4-FFF2-40B4-BE49-F238E27FC236}">
                <a16:creationId xmlns:a16="http://schemas.microsoft.com/office/drawing/2014/main" id="{F1E92234-4982-3E11-5373-29201E90D1F3}"/>
              </a:ext>
            </a:extLst>
          </p:cNvPr>
          <p:cNvSpPr/>
          <p:nvPr/>
        </p:nvSpPr>
        <p:spPr>
          <a:xfrm rot="440875">
            <a:off x="-180921" y="265105"/>
            <a:ext cx="12690000" cy="7380000"/>
          </a:xfrm>
          <a:custGeom>
            <a:avLst/>
            <a:gdLst>
              <a:gd name="connsiteX0" fmla="*/ 9663071 w 12695865"/>
              <a:gd name="connsiteY0" fmla="*/ 4936695 h 7287592"/>
              <a:gd name="connsiteX1" fmla="*/ 10305791 w 12695865"/>
              <a:gd name="connsiteY1" fmla="*/ 5792294 h 7287592"/>
              <a:gd name="connsiteX2" fmla="*/ 10311345 w 12695865"/>
              <a:gd name="connsiteY2" fmla="*/ 6036691 h 7287592"/>
              <a:gd name="connsiteX3" fmla="*/ 7848321 w 12695865"/>
              <a:gd name="connsiteY3" fmla="*/ 6354305 h 7287592"/>
              <a:gd name="connsiteX4" fmla="*/ 8104991 w 12695865"/>
              <a:gd name="connsiteY4" fmla="*/ 6087878 h 7287592"/>
              <a:gd name="connsiteX5" fmla="*/ 8557333 w 12695865"/>
              <a:gd name="connsiteY5" fmla="*/ 5654250 h 7287592"/>
              <a:gd name="connsiteX6" fmla="*/ 8513989 w 12695865"/>
              <a:gd name="connsiteY6" fmla="*/ 5695171 h 7287592"/>
              <a:gd name="connsiteX7" fmla="*/ 9663071 w 12695865"/>
              <a:gd name="connsiteY7" fmla="*/ 4936695 h 7287592"/>
              <a:gd name="connsiteX8" fmla="*/ 12541795 w 12695865"/>
              <a:gd name="connsiteY8" fmla="*/ 4534420 h 7287592"/>
              <a:gd name="connsiteX9" fmla="*/ 12695865 w 12695865"/>
              <a:gd name="connsiteY9" fmla="*/ 5729200 h 7287592"/>
              <a:gd name="connsiteX10" fmla="*/ 10900128 w 12695865"/>
              <a:gd name="connsiteY10" fmla="*/ 5960765 h 7287592"/>
              <a:gd name="connsiteX11" fmla="*/ 10946590 w 12695865"/>
              <a:gd name="connsiteY11" fmla="*/ 5897077 h 7287592"/>
              <a:gd name="connsiteX12" fmla="*/ 12448100 w 12695865"/>
              <a:gd name="connsiteY12" fmla="*/ 4561770 h 7287592"/>
              <a:gd name="connsiteX13" fmla="*/ 1370551 w 12695865"/>
              <a:gd name="connsiteY13" fmla="*/ 351679 h 7287592"/>
              <a:gd name="connsiteX14" fmla="*/ 4097748 w 12695865"/>
              <a:gd name="connsiteY14" fmla="*/ 0 h 7287592"/>
              <a:gd name="connsiteX15" fmla="*/ 4040937 w 12695865"/>
              <a:gd name="connsiteY15" fmla="*/ 206166 h 7287592"/>
              <a:gd name="connsiteX16" fmla="*/ 3126329 w 12695865"/>
              <a:gd name="connsiteY16" fmla="*/ 4987643 h 7287592"/>
              <a:gd name="connsiteX17" fmla="*/ 5213612 w 12695865"/>
              <a:gd name="connsiteY17" fmla="*/ 6403045 h 7287592"/>
              <a:gd name="connsiteX18" fmla="*/ 5130314 w 12695865"/>
              <a:gd name="connsiteY18" fmla="*/ 6704801 h 7287592"/>
              <a:gd name="connsiteX19" fmla="*/ 610910 w 12695865"/>
              <a:gd name="connsiteY19" fmla="*/ 7287592 h 7287592"/>
              <a:gd name="connsiteX20" fmla="*/ 627644 w 12695865"/>
              <a:gd name="connsiteY20" fmla="*/ 7128260 h 7287592"/>
              <a:gd name="connsiteX21" fmla="*/ 1900910 w 12695865"/>
              <a:gd name="connsiteY21" fmla="*/ 1224060 h 7287592"/>
              <a:gd name="connsiteX22" fmla="*/ 629083 w 12695865"/>
              <a:gd name="connsiteY22" fmla="*/ 3725990 h 7287592"/>
              <a:gd name="connsiteX23" fmla="*/ 251309 w 12695865"/>
              <a:gd name="connsiteY23" fmla="*/ 4553535 h 7287592"/>
              <a:gd name="connsiteX24" fmla="*/ 0 w 12695865"/>
              <a:gd name="connsiteY24" fmla="*/ 2604695 h 7287592"/>
              <a:gd name="connsiteX25" fmla="*/ 2386 w 12695865"/>
              <a:gd name="connsiteY25" fmla="*/ 2600336 h 7287592"/>
              <a:gd name="connsiteX26" fmla="*/ 1325283 w 12695865"/>
              <a:gd name="connsiteY26" fmla="*/ 419479 h 728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695865" h="7287592">
                <a:moveTo>
                  <a:pt x="9663071" y="4936695"/>
                </a:moveTo>
                <a:cubicBezTo>
                  <a:pt x="10060600" y="4894909"/>
                  <a:pt x="10268482" y="5244305"/>
                  <a:pt x="10305791" y="5792294"/>
                </a:cubicBezTo>
                <a:lnTo>
                  <a:pt x="10311345" y="6036691"/>
                </a:lnTo>
                <a:lnTo>
                  <a:pt x="7848321" y="6354305"/>
                </a:lnTo>
                <a:lnTo>
                  <a:pt x="8104991" y="6087878"/>
                </a:lnTo>
                <a:cubicBezTo>
                  <a:pt x="8252505" y="5940608"/>
                  <a:pt x="8403221" y="5796001"/>
                  <a:pt x="8557333" y="5654250"/>
                </a:cubicBezTo>
                <a:lnTo>
                  <a:pt x="8513989" y="5695171"/>
                </a:lnTo>
                <a:cubicBezTo>
                  <a:pt x="8998410" y="5195972"/>
                  <a:pt x="9379120" y="4966542"/>
                  <a:pt x="9663071" y="4936695"/>
                </a:cubicBezTo>
                <a:close/>
                <a:moveTo>
                  <a:pt x="12541795" y="4534420"/>
                </a:moveTo>
                <a:lnTo>
                  <a:pt x="12695865" y="5729200"/>
                </a:lnTo>
                <a:lnTo>
                  <a:pt x="10900128" y="5960765"/>
                </a:lnTo>
                <a:lnTo>
                  <a:pt x="10946590" y="5897077"/>
                </a:lnTo>
                <a:cubicBezTo>
                  <a:pt x="11371257" y="5326275"/>
                  <a:pt x="11838265" y="4782811"/>
                  <a:pt x="12448100" y="4561770"/>
                </a:cubicBezTo>
                <a:close/>
                <a:moveTo>
                  <a:pt x="1370551" y="351679"/>
                </a:moveTo>
                <a:lnTo>
                  <a:pt x="4097748" y="0"/>
                </a:lnTo>
                <a:lnTo>
                  <a:pt x="4040937" y="206166"/>
                </a:lnTo>
                <a:cubicBezTo>
                  <a:pt x="3490251" y="2200230"/>
                  <a:pt x="2877792" y="4387758"/>
                  <a:pt x="3126329" y="4987643"/>
                </a:cubicBezTo>
                <a:cubicBezTo>
                  <a:pt x="6193293" y="1106531"/>
                  <a:pt x="6065499" y="3229140"/>
                  <a:pt x="5213612" y="6403045"/>
                </a:cubicBezTo>
                <a:lnTo>
                  <a:pt x="5130314" y="6704801"/>
                </a:lnTo>
                <a:lnTo>
                  <a:pt x="610910" y="7287592"/>
                </a:lnTo>
                <a:lnTo>
                  <a:pt x="627644" y="7128260"/>
                </a:lnTo>
                <a:cubicBezTo>
                  <a:pt x="875017" y="5047620"/>
                  <a:pt x="1616591" y="2236346"/>
                  <a:pt x="1900910" y="1224060"/>
                </a:cubicBezTo>
                <a:cubicBezTo>
                  <a:pt x="1445282" y="2042854"/>
                  <a:pt x="1026698" y="2879400"/>
                  <a:pt x="629083" y="3725990"/>
                </a:cubicBezTo>
                <a:lnTo>
                  <a:pt x="251309" y="4553535"/>
                </a:lnTo>
                <a:lnTo>
                  <a:pt x="0" y="2604695"/>
                </a:lnTo>
                <a:lnTo>
                  <a:pt x="2386" y="2600336"/>
                </a:lnTo>
                <a:cubicBezTo>
                  <a:pt x="429300" y="1840867"/>
                  <a:pt x="876718" y="1104271"/>
                  <a:pt x="1325283" y="419479"/>
                </a:cubicBez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117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8FC8295C-3D67-1A2A-D3FF-3587A0DDF7AD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9CC6FB-50A5-8E85-2352-EFD550F00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0690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woosh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quiggle">
            <a:extLst>
              <a:ext uri="{FF2B5EF4-FFF2-40B4-BE49-F238E27FC236}">
                <a16:creationId xmlns:a16="http://schemas.microsoft.com/office/drawing/2014/main" id="{F1E92234-4982-3E11-5373-29201E90D1F3}"/>
              </a:ext>
            </a:extLst>
          </p:cNvPr>
          <p:cNvSpPr/>
          <p:nvPr/>
        </p:nvSpPr>
        <p:spPr>
          <a:xfrm rot="21159125" flipH="1">
            <a:off x="-319821" y="265105"/>
            <a:ext cx="12690000" cy="7380000"/>
          </a:xfrm>
          <a:custGeom>
            <a:avLst/>
            <a:gdLst>
              <a:gd name="connsiteX0" fmla="*/ 9663071 w 12695865"/>
              <a:gd name="connsiteY0" fmla="*/ 4936695 h 7287592"/>
              <a:gd name="connsiteX1" fmla="*/ 10305791 w 12695865"/>
              <a:gd name="connsiteY1" fmla="*/ 5792294 h 7287592"/>
              <a:gd name="connsiteX2" fmla="*/ 10311345 w 12695865"/>
              <a:gd name="connsiteY2" fmla="*/ 6036691 h 7287592"/>
              <a:gd name="connsiteX3" fmla="*/ 7848321 w 12695865"/>
              <a:gd name="connsiteY3" fmla="*/ 6354305 h 7287592"/>
              <a:gd name="connsiteX4" fmla="*/ 8104991 w 12695865"/>
              <a:gd name="connsiteY4" fmla="*/ 6087878 h 7287592"/>
              <a:gd name="connsiteX5" fmla="*/ 8557333 w 12695865"/>
              <a:gd name="connsiteY5" fmla="*/ 5654250 h 7287592"/>
              <a:gd name="connsiteX6" fmla="*/ 8513989 w 12695865"/>
              <a:gd name="connsiteY6" fmla="*/ 5695171 h 7287592"/>
              <a:gd name="connsiteX7" fmla="*/ 9663071 w 12695865"/>
              <a:gd name="connsiteY7" fmla="*/ 4936695 h 7287592"/>
              <a:gd name="connsiteX8" fmla="*/ 12541795 w 12695865"/>
              <a:gd name="connsiteY8" fmla="*/ 4534420 h 7287592"/>
              <a:gd name="connsiteX9" fmla="*/ 12695865 w 12695865"/>
              <a:gd name="connsiteY9" fmla="*/ 5729200 h 7287592"/>
              <a:gd name="connsiteX10" fmla="*/ 10900128 w 12695865"/>
              <a:gd name="connsiteY10" fmla="*/ 5960765 h 7287592"/>
              <a:gd name="connsiteX11" fmla="*/ 10946590 w 12695865"/>
              <a:gd name="connsiteY11" fmla="*/ 5897077 h 7287592"/>
              <a:gd name="connsiteX12" fmla="*/ 12448100 w 12695865"/>
              <a:gd name="connsiteY12" fmla="*/ 4561770 h 7287592"/>
              <a:gd name="connsiteX13" fmla="*/ 1370551 w 12695865"/>
              <a:gd name="connsiteY13" fmla="*/ 351679 h 7287592"/>
              <a:gd name="connsiteX14" fmla="*/ 4097748 w 12695865"/>
              <a:gd name="connsiteY14" fmla="*/ 0 h 7287592"/>
              <a:gd name="connsiteX15" fmla="*/ 4040937 w 12695865"/>
              <a:gd name="connsiteY15" fmla="*/ 206166 h 7287592"/>
              <a:gd name="connsiteX16" fmla="*/ 3126329 w 12695865"/>
              <a:gd name="connsiteY16" fmla="*/ 4987643 h 7287592"/>
              <a:gd name="connsiteX17" fmla="*/ 5213612 w 12695865"/>
              <a:gd name="connsiteY17" fmla="*/ 6403045 h 7287592"/>
              <a:gd name="connsiteX18" fmla="*/ 5130314 w 12695865"/>
              <a:gd name="connsiteY18" fmla="*/ 6704801 h 7287592"/>
              <a:gd name="connsiteX19" fmla="*/ 610910 w 12695865"/>
              <a:gd name="connsiteY19" fmla="*/ 7287592 h 7287592"/>
              <a:gd name="connsiteX20" fmla="*/ 627644 w 12695865"/>
              <a:gd name="connsiteY20" fmla="*/ 7128260 h 7287592"/>
              <a:gd name="connsiteX21" fmla="*/ 1900910 w 12695865"/>
              <a:gd name="connsiteY21" fmla="*/ 1224060 h 7287592"/>
              <a:gd name="connsiteX22" fmla="*/ 629083 w 12695865"/>
              <a:gd name="connsiteY22" fmla="*/ 3725990 h 7287592"/>
              <a:gd name="connsiteX23" fmla="*/ 251309 w 12695865"/>
              <a:gd name="connsiteY23" fmla="*/ 4553535 h 7287592"/>
              <a:gd name="connsiteX24" fmla="*/ 0 w 12695865"/>
              <a:gd name="connsiteY24" fmla="*/ 2604695 h 7287592"/>
              <a:gd name="connsiteX25" fmla="*/ 2386 w 12695865"/>
              <a:gd name="connsiteY25" fmla="*/ 2600336 h 7287592"/>
              <a:gd name="connsiteX26" fmla="*/ 1325283 w 12695865"/>
              <a:gd name="connsiteY26" fmla="*/ 419479 h 728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695865" h="7287592">
                <a:moveTo>
                  <a:pt x="9663071" y="4936695"/>
                </a:moveTo>
                <a:cubicBezTo>
                  <a:pt x="10060600" y="4894909"/>
                  <a:pt x="10268482" y="5244305"/>
                  <a:pt x="10305791" y="5792294"/>
                </a:cubicBezTo>
                <a:lnTo>
                  <a:pt x="10311345" y="6036691"/>
                </a:lnTo>
                <a:lnTo>
                  <a:pt x="7848321" y="6354305"/>
                </a:lnTo>
                <a:lnTo>
                  <a:pt x="8104991" y="6087878"/>
                </a:lnTo>
                <a:cubicBezTo>
                  <a:pt x="8252505" y="5940608"/>
                  <a:pt x="8403221" y="5796001"/>
                  <a:pt x="8557333" y="5654250"/>
                </a:cubicBezTo>
                <a:lnTo>
                  <a:pt x="8513989" y="5695171"/>
                </a:lnTo>
                <a:cubicBezTo>
                  <a:pt x="8998410" y="5195972"/>
                  <a:pt x="9379120" y="4966542"/>
                  <a:pt x="9663071" y="4936695"/>
                </a:cubicBezTo>
                <a:close/>
                <a:moveTo>
                  <a:pt x="12541795" y="4534420"/>
                </a:moveTo>
                <a:lnTo>
                  <a:pt x="12695865" y="5729200"/>
                </a:lnTo>
                <a:lnTo>
                  <a:pt x="10900128" y="5960765"/>
                </a:lnTo>
                <a:lnTo>
                  <a:pt x="10946590" y="5897077"/>
                </a:lnTo>
                <a:cubicBezTo>
                  <a:pt x="11371257" y="5326275"/>
                  <a:pt x="11838265" y="4782811"/>
                  <a:pt x="12448100" y="4561770"/>
                </a:cubicBezTo>
                <a:close/>
                <a:moveTo>
                  <a:pt x="1370551" y="351679"/>
                </a:moveTo>
                <a:lnTo>
                  <a:pt x="4097748" y="0"/>
                </a:lnTo>
                <a:lnTo>
                  <a:pt x="4040937" y="206166"/>
                </a:lnTo>
                <a:cubicBezTo>
                  <a:pt x="3490251" y="2200230"/>
                  <a:pt x="2877792" y="4387758"/>
                  <a:pt x="3126329" y="4987643"/>
                </a:cubicBezTo>
                <a:cubicBezTo>
                  <a:pt x="6193293" y="1106531"/>
                  <a:pt x="6065499" y="3229140"/>
                  <a:pt x="5213612" y="6403045"/>
                </a:cubicBezTo>
                <a:lnTo>
                  <a:pt x="5130314" y="6704801"/>
                </a:lnTo>
                <a:lnTo>
                  <a:pt x="610910" y="7287592"/>
                </a:lnTo>
                <a:lnTo>
                  <a:pt x="627644" y="7128260"/>
                </a:lnTo>
                <a:cubicBezTo>
                  <a:pt x="875017" y="5047620"/>
                  <a:pt x="1616591" y="2236346"/>
                  <a:pt x="1900910" y="1224060"/>
                </a:cubicBezTo>
                <a:cubicBezTo>
                  <a:pt x="1445282" y="2042854"/>
                  <a:pt x="1026698" y="2879400"/>
                  <a:pt x="629083" y="3725990"/>
                </a:cubicBezTo>
                <a:lnTo>
                  <a:pt x="251309" y="4553535"/>
                </a:lnTo>
                <a:lnTo>
                  <a:pt x="0" y="2604695"/>
                </a:lnTo>
                <a:lnTo>
                  <a:pt x="2386" y="2600336"/>
                </a:lnTo>
                <a:cubicBezTo>
                  <a:pt x="429300" y="1840867"/>
                  <a:pt x="876718" y="1104271"/>
                  <a:pt x="1325283" y="419479"/>
                </a:cubicBez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117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8FC8295C-3D67-1A2A-D3FF-3587A0DDF7AD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9CC6FB-50A5-8E85-2352-EFD550F00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5599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Swoos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adient background">
            <a:extLst>
              <a:ext uri="{FF2B5EF4-FFF2-40B4-BE49-F238E27FC236}">
                <a16:creationId xmlns:a16="http://schemas.microsoft.com/office/drawing/2014/main" id="{FF4FA843-E9AB-E4D0-4382-8A499820EF90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0" name="Squiggle">
            <a:extLst>
              <a:ext uri="{FF2B5EF4-FFF2-40B4-BE49-F238E27FC236}">
                <a16:creationId xmlns:a16="http://schemas.microsoft.com/office/drawing/2014/main" id="{751B40F4-B93C-487C-7153-09E178C1455F}"/>
              </a:ext>
            </a:extLst>
          </p:cNvPr>
          <p:cNvSpPr>
            <a:spLocks/>
          </p:cNvSpPr>
          <p:nvPr userDrawn="1"/>
        </p:nvSpPr>
        <p:spPr bwMode="ltGray">
          <a:xfrm rot="8762903">
            <a:off x="-918620" y="638750"/>
            <a:ext cx="13864612" cy="6245410"/>
          </a:xfrm>
          <a:custGeom>
            <a:avLst/>
            <a:gdLst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996876 w 6958630"/>
              <a:gd name="connsiteY11" fmla="*/ 4908063 h 5352044"/>
              <a:gd name="connsiteX12" fmla="*/ 1398177 w 6958630"/>
              <a:gd name="connsiteY12" fmla="*/ 4201072 h 5352044"/>
              <a:gd name="connsiteX13" fmla="*/ 1590566 w 6958630"/>
              <a:gd name="connsiteY13" fmla="*/ 3604919 h 5352044"/>
              <a:gd name="connsiteX14" fmla="*/ 1974502 w 6958630"/>
              <a:gd name="connsiteY14" fmla="*/ 2496593 h 5352044"/>
              <a:gd name="connsiteX15" fmla="*/ 2349059 w 6958630"/>
              <a:gd name="connsiteY15" fmla="*/ 1514660 h 5352044"/>
              <a:gd name="connsiteX16" fmla="*/ 2474209 w 6958630"/>
              <a:gd name="connsiteY16" fmla="*/ 1195792 h 5352044"/>
              <a:gd name="connsiteX17" fmla="*/ 2595638 w 6958630"/>
              <a:gd name="connsiteY17" fmla="*/ 980346 h 5352044"/>
              <a:gd name="connsiteX18" fmla="*/ 3160829 w 6958630"/>
              <a:gd name="connsiteY18" fmla="*/ 512585 h 5352044"/>
              <a:gd name="connsiteX19" fmla="*/ 3435866 w 6958630"/>
              <a:gd name="connsiteY19" fmla="*/ 585618 h 5352044"/>
              <a:gd name="connsiteX20" fmla="*/ 3450660 w 6958630"/>
              <a:gd name="connsiteY20" fmla="*/ 838639 h 5352044"/>
              <a:gd name="connsiteX21" fmla="*/ 3404013 w 6958630"/>
              <a:gd name="connsiteY21" fmla="*/ 1499936 h 5352044"/>
              <a:gd name="connsiteX22" fmla="*/ 3313870 w 6958630"/>
              <a:gd name="connsiteY22" fmla="*/ 2850918 h 5352044"/>
              <a:gd name="connsiteX23" fmla="*/ 3369572 w 6958630"/>
              <a:gd name="connsiteY23" fmla="*/ 2686006 h 5352044"/>
              <a:gd name="connsiteX24" fmla="*/ 3706860 w 6958630"/>
              <a:gd name="connsiteY24" fmla="*/ 1716324 h 5352044"/>
              <a:gd name="connsiteX25" fmla="*/ 3936380 w 6958630"/>
              <a:gd name="connsiteY25" fmla="*/ 1155977 h 5352044"/>
              <a:gd name="connsiteX26" fmla="*/ 4337132 w 6958630"/>
              <a:gd name="connsiteY26" fmla="*/ 522126 h 5352044"/>
              <a:gd name="connsiteX27" fmla="*/ 4436557 w 6958630"/>
              <a:gd name="connsiteY27" fmla="*/ 425574 h 5352044"/>
              <a:gd name="connsiteX28" fmla="*/ 4508920 w 6958630"/>
              <a:gd name="connsiteY28" fmla="*/ 367382 h 5352044"/>
              <a:gd name="connsiteX29" fmla="*/ 5115640 w 6958630"/>
              <a:gd name="connsiteY29" fmla="*/ 1083845 h 5352044"/>
              <a:gd name="connsiteX30" fmla="*/ 5115018 w 6958630"/>
              <a:gd name="connsiteY30" fmla="*/ 1096653 h 5352044"/>
              <a:gd name="connsiteX31" fmla="*/ 5091987 w 6958630"/>
              <a:gd name="connsiteY31" fmla="*/ 1380611 h 5352044"/>
              <a:gd name="connsiteX32" fmla="*/ 5018983 w 6958630"/>
              <a:gd name="connsiteY32" fmla="*/ 2135554 h 5352044"/>
              <a:gd name="connsiteX33" fmla="*/ 4977834 w 6958630"/>
              <a:gd name="connsiteY33" fmla="*/ 2587648 h 5352044"/>
              <a:gd name="connsiteX34" fmla="*/ 5285289 w 6958630"/>
              <a:gd name="connsiteY34" fmla="*/ 2003389 h 5352044"/>
              <a:gd name="connsiteX35" fmla="*/ 5453822 w 6958630"/>
              <a:gd name="connsiteY35" fmla="*/ 1744212 h 5352044"/>
              <a:gd name="connsiteX36" fmla="*/ 5559908 w 6958630"/>
              <a:gd name="connsiteY36" fmla="*/ 1608472 h 5352044"/>
              <a:gd name="connsiteX37" fmla="*/ 6798419 w 6958630"/>
              <a:gd name="connsiteY37" fmla="*/ 3071005 h 5352044"/>
              <a:gd name="connsiteX38" fmla="*/ 6799849 w 6958630"/>
              <a:gd name="connsiteY38" fmla="*/ 3148467 h 5352044"/>
              <a:gd name="connsiteX39" fmla="*/ 6825478 w 6958630"/>
              <a:gd name="connsiteY39" fmla="*/ 3218437 h 5352044"/>
              <a:gd name="connsiteX40" fmla="*/ 6835906 w 6958630"/>
              <a:gd name="connsiteY40" fmla="*/ 3236811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825478 w 6958630"/>
              <a:gd name="connsiteY40" fmla="*/ 3218437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75" fmla="*/ 1996876 w 6958630"/>
              <a:gd name="connsiteY75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904383 w 6958630"/>
              <a:gd name="connsiteY40" fmla="*/ 3276626 h 5352044"/>
              <a:gd name="connsiteX41" fmla="*/ 6958630 w 6958630"/>
              <a:gd name="connsiteY41" fmla="*/ 3303366 h 5352044"/>
              <a:gd name="connsiteX42" fmla="*/ 6929041 w 6958630"/>
              <a:gd name="connsiteY42" fmla="*/ 3371333 h 5352044"/>
              <a:gd name="connsiteX43" fmla="*/ 6842183 w 6958630"/>
              <a:gd name="connsiteY43" fmla="*/ 3496813 h 5352044"/>
              <a:gd name="connsiteX44" fmla="*/ 6752598 w 6958630"/>
              <a:gd name="connsiteY44" fmla="*/ 3590980 h 5352044"/>
              <a:gd name="connsiteX45" fmla="*/ 6636435 w 6958630"/>
              <a:gd name="connsiteY45" fmla="*/ 3689350 h 5352044"/>
              <a:gd name="connsiteX46" fmla="*/ 6534262 w 6958630"/>
              <a:gd name="connsiteY46" fmla="*/ 3751543 h 5352044"/>
              <a:gd name="connsiteX47" fmla="*/ 6311623 w 6958630"/>
              <a:gd name="connsiteY47" fmla="*/ 3821071 h 5352044"/>
              <a:gd name="connsiteX48" fmla="*/ 6205393 w 6958630"/>
              <a:gd name="connsiteY48" fmla="*/ 3821425 h 5352044"/>
              <a:gd name="connsiteX49" fmla="*/ 6113794 w 6958630"/>
              <a:gd name="connsiteY49" fmla="*/ 3789856 h 5352044"/>
              <a:gd name="connsiteX50" fmla="*/ 5957763 w 6958630"/>
              <a:gd name="connsiteY50" fmla="*/ 3645087 h 5352044"/>
              <a:gd name="connsiteX51" fmla="*/ 5871500 w 6958630"/>
              <a:gd name="connsiteY51" fmla="*/ 3407024 h 5352044"/>
              <a:gd name="connsiteX52" fmla="*/ 5850157 w 6958630"/>
              <a:gd name="connsiteY52" fmla="*/ 3228802 h 5352044"/>
              <a:gd name="connsiteX53" fmla="*/ 5855735 w 6958630"/>
              <a:gd name="connsiteY53" fmla="*/ 2702379 h 5352044"/>
              <a:gd name="connsiteX54" fmla="*/ 5851694 w 6958630"/>
              <a:gd name="connsiteY54" fmla="*/ 2416140 h 5352044"/>
              <a:gd name="connsiteX55" fmla="*/ 5849753 w 6958630"/>
              <a:gd name="connsiteY55" fmla="*/ 2339220 h 5352044"/>
              <a:gd name="connsiteX56" fmla="*/ 5526775 w 6958630"/>
              <a:gd name="connsiteY56" fmla="*/ 3089687 h 5352044"/>
              <a:gd name="connsiteX57" fmla="*/ 5318032 w 6958630"/>
              <a:gd name="connsiteY57" fmla="*/ 3567460 h 5352044"/>
              <a:gd name="connsiteX58" fmla="*/ 5075333 w 6958630"/>
              <a:gd name="connsiteY58" fmla="*/ 3948996 h 5352044"/>
              <a:gd name="connsiteX59" fmla="*/ 4924556 w 6958630"/>
              <a:gd name="connsiteY59" fmla="*/ 4127219 h 5352044"/>
              <a:gd name="connsiteX60" fmla="*/ 4635048 w 6958630"/>
              <a:gd name="connsiteY60" fmla="*/ 4368343 h 5352044"/>
              <a:gd name="connsiteX61" fmla="*/ 4359931 w 6958630"/>
              <a:gd name="connsiteY61" fmla="*/ 4482250 h 5352044"/>
              <a:gd name="connsiteX62" fmla="*/ 4263401 w 6958630"/>
              <a:gd name="connsiteY62" fmla="*/ 4484960 h 5352044"/>
              <a:gd name="connsiteX63" fmla="*/ 3999117 w 6958630"/>
              <a:gd name="connsiteY63" fmla="*/ 4107900 h 5352044"/>
              <a:gd name="connsiteX64" fmla="*/ 3984242 w 6958630"/>
              <a:gd name="connsiteY64" fmla="*/ 3763234 h 5352044"/>
              <a:gd name="connsiteX65" fmla="*/ 4001623 w 6958630"/>
              <a:gd name="connsiteY65" fmla="*/ 3345301 h 5352044"/>
              <a:gd name="connsiteX66" fmla="*/ 4018520 w 6958630"/>
              <a:gd name="connsiteY66" fmla="*/ 3140220 h 5352044"/>
              <a:gd name="connsiteX67" fmla="*/ 3918918 w 6958630"/>
              <a:gd name="connsiteY67" fmla="*/ 3442952 h 5352044"/>
              <a:gd name="connsiteX68" fmla="*/ 3739925 w 6958630"/>
              <a:gd name="connsiteY68" fmla="*/ 3941692 h 5352044"/>
              <a:gd name="connsiteX69" fmla="*/ 3266332 w 6958630"/>
              <a:gd name="connsiteY69" fmla="*/ 4905602 h 5352044"/>
              <a:gd name="connsiteX70" fmla="*/ 2513418 w 6958630"/>
              <a:gd name="connsiteY70" fmla="*/ 5349452 h 5352044"/>
              <a:gd name="connsiteX71" fmla="*/ 2277187 w 6958630"/>
              <a:gd name="connsiteY71" fmla="*/ 4857072 h 5352044"/>
              <a:gd name="connsiteX72" fmla="*/ 2326260 w 6958630"/>
              <a:gd name="connsiteY72" fmla="*/ 3819775 h 5352044"/>
              <a:gd name="connsiteX73" fmla="*/ 2048658 w 6958630"/>
              <a:gd name="connsiteY73" fmla="*/ 4760224 h 5352044"/>
              <a:gd name="connsiteX74" fmla="*/ 1996876 w 6958630"/>
              <a:gd name="connsiteY74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904383 w 6958630"/>
              <a:gd name="connsiteY39" fmla="*/ 3276626 h 5352044"/>
              <a:gd name="connsiteX40" fmla="*/ 6958630 w 6958630"/>
              <a:gd name="connsiteY40" fmla="*/ 3303366 h 5352044"/>
              <a:gd name="connsiteX41" fmla="*/ 6929041 w 6958630"/>
              <a:gd name="connsiteY41" fmla="*/ 3371333 h 5352044"/>
              <a:gd name="connsiteX42" fmla="*/ 6842183 w 6958630"/>
              <a:gd name="connsiteY42" fmla="*/ 3496813 h 5352044"/>
              <a:gd name="connsiteX43" fmla="*/ 6752598 w 6958630"/>
              <a:gd name="connsiteY43" fmla="*/ 3590980 h 5352044"/>
              <a:gd name="connsiteX44" fmla="*/ 6636435 w 6958630"/>
              <a:gd name="connsiteY44" fmla="*/ 3689350 h 5352044"/>
              <a:gd name="connsiteX45" fmla="*/ 6534262 w 6958630"/>
              <a:gd name="connsiteY45" fmla="*/ 3751543 h 5352044"/>
              <a:gd name="connsiteX46" fmla="*/ 6311623 w 6958630"/>
              <a:gd name="connsiteY46" fmla="*/ 3821071 h 5352044"/>
              <a:gd name="connsiteX47" fmla="*/ 6205393 w 6958630"/>
              <a:gd name="connsiteY47" fmla="*/ 3821425 h 5352044"/>
              <a:gd name="connsiteX48" fmla="*/ 6113794 w 6958630"/>
              <a:gd name="connsiteY48" fmla="*/ 3789856 h 5352044"/>
              <a:gd name="connsiteX49" fmla="*/ 5957763 w 6958630"/>
              <a:gd name="connsiteY49" fmla="*/ 3645087 h 5352044"/>
              <a:gd name="connsiteX50" fmla="*/ 5871500 w 6958630"/>
              <a:gd name="connsiteY50" fmla="*/ 3407024 h 5352044"/>
              <a:gd name="connsiteX51" fmla="*/ 5850157 w 6958630"/>
              <a:gd name="connsiteY51" fmla="*/ 3228802 h 5352044"/>
              <a:gd name="connsiteX52" fmla="*/ 5855735 w 6958630"/>
              <a:gd name="connsiteY52" fmla="*/ 2702379 h 5352044"/>
              <a:gd name="connsiteX53" fmla="*/ 5851694 w 6958630"/>
              <a:gd name="connsiteY53" fmla="*/ 2416140 h 5352044"/>
              <a:gd name="connsiteX54" fmla="*/ 5849753 w 6958630"/>
              <a:gd name="connsiteY54" fmla="*/ 2339220 h 5352044"/>
              <a:gd name="connsiteX55" fmla="*/ 5526775 w 6958630"/>
              <a:gd name="connsiteY55" fmla="*/ 3089687 h 5352044"/>
              <a:gd name="connsiteX56" fmla="*/ 5318032 w 6958630"/>
              <a:gd name="connsiteY56" fmla="*/ 3567460 h 5352044"/>
              <a:gd name="connsiteX57" fmla="*/ 5075333 w 6958630"/>
              <a:gd name="connsiteY57" fmla="*/ 3948996 h 5352044"/>
              <a:gd name="connsiteX58" fmla="*/ 4924556 w 6958630"/>
              <a:gd name="connsiteY58" fmla="*/ 4127219 h 5352044"/>
              <a:gd name="connsiteX59" fmla="*/ 4635048 w 6958630"/>
              <a:gd name="connsiteY59" fmla="*/ 4368343 h 5352044"/>
              <a:gd name="connsiteX60" fmla="*/ 4359931 w 6958630"/>
              <a:gd name="connsiteY60" fmla="*/ 4482250 h 5352044"/>
              <a:gd name="connsiteX61" fmla="*/ 4263401 w 6958630"/>
              <a:gd name="connsiteY61" fmla="*/ 4484960 h 5352044"/>
              <a:gd name="connsiteX62" fmla="*/ 3999117 w 6958630"/>
              <a:gd name="connsiteY62" fmla="*/ 4107900 h 5352044"/>
              <a:gd name="connsiteX63" fmla="*/ 3984242 w 6958630"/>
              <a:gd name="connsiteY63" fmla="*/ 3763234 h 5352044"/>
              <a:gd name="connsiteX64" fmla="*/ 4001623 w 6958630"/>
              <a:gd name="connsiteY64" fmla="*/ 3345301 h 5352044"/>
              <a:gd name="connsiteX65" fmla="*/ 4018520 w 6958630"/>
              <a:gd name="connsiteY65" fmla="*/ 3140220 h 5352044"/>
              <a:gd name="connsiteX66" fmla="*/ 3918918 w 6958630"/>
              <a:gd name="connsiteY66" fmla="*/ 3442952 h 5352044"/>
              <a:gd name="connsiteX67" fmla="*/ 3739925 w 6958630"/>
              <a:gd name="connsiteY67" fmla="*/ 3941692 h 5352044"/>
              <a:gd name="connsiteX68" fmla="*/ 3266332 w 6958630"/>
              <a:gd name="connsiteY68" fmla="*/ 4905602 h 5352044"/>
              <a:gd name="connsiteX69" fmla="*/ 2513418 w 6958630"/>
              <a:gd name="connsiteY69" fmla="*/ 5349452 h 5352044"/>
              <a:gd name="connsiteX70" fmla="*/ 2277187 w 6958630"/>
              <a:gd name="connsiteY70" fmla="*/ 4857072 h 5352044"/>
              <a:gd name="connsiteX71" fmla="*/ 2326260 w 6958630"/>
              <a:gd name="connsiteY71" fmla="*/ 3819775 h 5352044"/>
              <a:gd name="connsiteX72" fmla="*/ 2048658 w 6958630"/>
              <a:gd name="connsiteY72" fmla="*/ 4760224 h 5352044"/>
              <a:gd name="connsiteX73" fmla="*/ 1996876 w 6958630"/>
              <a:gd name="connsiteY73" fmla="*/ 4908063 h 5352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6958630" h="5352044">
                <a:moveTo>
                  <a:pt x="1075189" y="3819662"/>
                </a:moveTo>
                <a:lnTo>
                  <a:pt x="0" y="2549993"/>
                </a:lnTo>
                <a:lnTo>
                  <a:pt x="273834" y="1601357"/>
                </a:lnTo>
                <a:cubicBezTo>
                  <a:pt x="334145" y="1401224"/>
                  <a:pt x="392071" y="1194731"/>
                  <a:pt x="455464" y="992346"/>
                </a:cubicBezTo>
                <a:lnTo>
                  <a:pt x="482058" y="912917"/>
                </a:lnTo>
                <a:lnTo>
                  <a:pt x="1560103" y="0"/>
                </a:lnTo>
                <a:lnTo>
                  <a:pt x="1563049" y="19661"/>
                </a:lnTo>
                <a:cubicBezTo>
                  <a:pt x="1562735" y="79603"/>
                  <a:pt x="1547759" y="145008"/>
                  <a:pt x="1535672" y="208675"/>
                </a:cubicBezTo>
                <a:cubicBezTo>
                  <a:pt x="1503981" y="375590"/>
                  <a:pt x="1464447" y="539089"/>
                  <a:pt x="1431946" y="705650"/>
                </a:cubicBezTo>
                <a:cubicBezTo>
                  <a:pt x="1382793" y="957376"/>
                  <a:pt x="1338086" y="1211340"/>
                  <a:pt x="1308739" y="1469663"/>
                </a:cubicBezTo>
                <a:cubicBezTo>
                  <a:pt x="1231248" y="2152398"/>
                  <a:pt x="1132111" y="2839043"/>
                  <a:pt x="1089432" y="3521397"/>
                </a:cubicBezTo>
                <a:lnTo>
                  <a:pt x="1075189" y="3819662"/>
                </a:lnTo>
                <a:close/>
                <a:moveTo>
                  <a:pt x="1996876" y="4908063"/>
                </a:moveTo>
                <a:lnTo>
                  <a:pt x="1398177" y="4201072"/>
                </a:lnTo>
                <a:lnTo>
                  <a:pt x="1590566" y="3604919"/>
                </a:lnTo>
                <a:cubicBezTo>
                  <a:pt x="1715230" y="3233985"/>
                  <a:pt x="1843451" y="2864347"/>
                  <a:pt x="1974502" y="2496593"/>
                </a:cubicBezTo>
                <a:cubicBezTo>
                  <a:pt x="2096579" y="2167829"/>
                  <a:pt x="2219221" y="1839301"/>
                  <a:pt x="2349059" y="1514660"/>
                </a:cubicBezTo>
                <a:cubicBezTo>
                  <a:pt x="2389159" y="1407350"/>
                  <a:pt x="2429178" y="1300275"/>
                  <a:pt x="2474209" y="1195792"/>
                </a:cubicBezTo>
                <a:cubicBezTo>
                  <a:pt x="2506143" y="1116870"/>
                  <a:pt x="2552548" y="1049491"/>
                  <a:pt x="2595638" y="980346"/>
                </a:cubicBezTo>
                <a:cubicBezTo>
                  <a:pt x="2735420" y="756066"/>
                  <a:pt x="2952975" y="554992"/>
                  <a:pt x="3160829" y="512585"/>
                </a:cubicBezTo>
                <a:cubicBezTo>
                  <a:pt x="3221463" y="500216"/>
                  <a:pt x="3408378" y="448388"/>
                  <a:pt x="3435866" y="585618"/>
                </a:cubicBezTo>
                <a:cubicBezTo>
                  <a:pt x="3451954" y="666424"/>
                  <a:pt x="3452762" y="752296"/>
                  <a:pt x="3450660" y="838639"/>
                </a:cubicBezTo>
                <a:cubicBezTo>
                  <a:pt x="3439018" y="1058797"/>
                  <a:pt x="3418080" y="1279661"/>
                  <a:pt x="3404013" y="1499936"/>
                </a:cubicBezTo>
                <a:cubicBezTo>
                  <a:pt x="3374990" y="1950264"/>
                  <a:pt x="3346451" y="2400472"/>
                  <a:pt x="3313870" y="2850918"/>
                </a:cubicBezTo>
                <a:cubicBezTo>
                  <a:pt x="3332222" y="2798028"/>
                  <a:pt x="3350735" y="2741958"/>
                  <a:pt x="3369572" y="2686006"/>
                </a:cubicBezTo>
                <a:cubicBezTo>
                  <a:pt x="3474752" y="2359481"/>
                  <a:pt x="3593999" y="2039316"/>
                  <a:pt x="3706860" y="1716324"/>
                </a:cubicBezTo>
                <a:cubicBezTo>
                  <a:pt x="3783340" y="1529502"/>
                  <a:pt x="3858769" y="1342092"/>
                  <a:pt x="3936380" y="1155977"/>
                </a:cubicBezTo>
                <a:cubicBezTo>
                  <a:pt x="4039217" y="901659"/>
                  <a:pt x="4175037" y="691750"/>
                  <a:pt x="4337132" y="522126"/>
                </a:cubicBezTo>
                <a:cubicBezTo>
                  <a:pt x="4369187" y="488614"/>
                  <a:pt x="4402385" y="456103"/>
                  <a:pt x="4436557" y="425574"/>
                </a:cubicBezTo>
                <a:lnTo>
                  <a:pt x="4508920" y="367382"/>
                </a:lnTo>
                <a:lnTo>
                  <a:pt x="5115640" y="1083845"/>
                </a:lnTo>
                <a:cubicBezTo>
                  <a:pt x="5115433" y="1088114"/>
                  <a:pt x="5115225" y="1092384"/>
                  <a:pt x="5115018" y="1096653"/>
                </a:cubicBezTo>
                <a:cubicBezTo>
                  <a:pt x="5108399" y="1191256"/>
                  <a:pt x="5100234" y="1285963"/>
                  <a:pt x="5091987" y="1380611"/>
                </a:cubicBezTo>
                <a:cubicBezTo>
                  <a:pt x="5067734" y="1632219"/>
                  <a:pt x="5042105" y="1883946"/>
                  <a:pt x="5018983" y="2135554"/>
                </a:cubicBezTo>
                <a:cubicBezTo>
                  <a:pt x="5005644" y="2286213"/>
                  <a:pt x="4990608" y="2436988"/>
                  <a:pt x="4977834" y="2587648"/>
                </a:cubicBezTo>
                <a:cubicBezTo>
                  <a:pt x="5067734" y="2382804"/>
                  <a:pt x="5169275" y="2185970"/>
                  <a:pt x="5285289" y="2003389"/>
                </a:cubicBezTo>
                <a:cubicBezTo>
                  <a:pt x="5338404" y="1913394"/>
                  <a:pt x="5394693" y="1826992"/>
                  <a:pt x="5453822" y="1744212"/>
                </a:cubicBezTo>
                <a:lnTo>
                  <a:pt x="5559908" y="1608472"/>
                </a:lnTo>
                <a:lnTo>
                  <a:pt x="6798419" y="3071005"/>
                </a:lnTo>
                <a:cubicBezTo>
                  <a:pt x="7022498" y="3349031"/>
                  <a:pt x="6877681" y="3237899"/>
                  <a:pt x="6904383" y="3276626"/>
                </a:cubicBezTo>
                <a:cubicBezTo>
                  <a:pt x="6931085" y="3315353"/>
                  <a:pt x="6916024" y="3277333"/>
                  <a:pt x="6958630" y="3303366"/>
                </a:cubicBezTo>
                <a:cubicBezTo>
                  <a:pt x="6951435" y="3327514"/>
                  <a:pt x="6940360" y="3349895"/>
                  <a:pt x="6929041" y="3371333"/>
                </a:cubicBezTo>
                <a:cubicBezTo>
                  <a:pt x="6903291" y="3416979"/>
                  <a:pt x="6873864" y="3458560"/>
                  <a:pt x="6842183" y="3496813"/>
                </a:cubicBezTo>
                <a:lnTo>
                  <a:pt x="6752598" y="3590980"/>
                </a:lnTo>
                <a:lnTo>
                  <a:pt x="6636435" y="3689350"/>
                </a:lnTo>
                <a:lnTo>
                  <a:pt x="6534262" y="3751543"/>
                </a:lnTo>
                <a:cubicBezTo>
                  <a:pt x="6461450" y="3788383"/>
                  <a:pt x="6386122" y="3811941"/>
                  <a:pt x="6311623" y="3821071"/>
                </a:cubicBezTo>
                <a:cubicBezTo>
                  <a:pt x="6276293" y="3821071"/>
                  <a:pt x="6240237" y="3825901"/>
                  <a:pt x="6205393" y="3821425"/>
                </a:cubicBezTo>
                <a:cubicBezTo>
                  <a:pt x="6173378" y="3816949"/>
                  <a:pt x="6144192" y="3800928"/>
                  <a:pt x="6113794" y="3789856"/>
                </a:cubicBezTo>
                <a:cubicBezTo>
                  <a:pt x="6049199" y="3766885"/>
                  <a:pt x="6001500" y="3706693"/>
                  <a:pt x="5957763" y="3645087"/>
                </a:cubicBezTo>
                <a:cubicBezTo>
                  <a:pt x="5909660" y="3583952"/>
                  <a:pt x="5886294" y="3495606"/>
                  <a:pt x="5871500" y="3407024"/>
                </a:cubicBezTo>
                <a:cubicBezTo>
                  <a:pt x="5863092" y="3348127"/>
                  <a:pt x="5850885" y="3290408"/>
                  <a:pt x="5850157" y="3228802"/>
                </a:cubicBezTo>
                <a:cubicBezTo>
                  <a:pt x="5850400" y="3053642"/>
                  <a:pt x="5852987" y="2878010"/>
                  <a:pt x="5855735" y="2702379"/>
                </a:cubicBezTo>
                <a:cubicBezTo>
                  <a:pt x="5857594" y="2606377"/>
                  <a:pt x="5854684" y="2511200"/>
                  <a:pt x="5851694" y="2416140"/>
                </a:cubicBezTo>
                <a:cubicBezTo>
                  <a:pt x="5851046" y="2390579"/>
                  <a:pt x="5850480" y="2364900"/>
                  <a:pt x="5849753" y="2339220"/>
                </a:cubicBezTo>
                <a:cubicBezTo>
                  <a:pt x="5734872" y="2584115"/>
                  <a:pt x="5634056" y="2840199"/>
                  <a:pt x="5526775" y="3089687"/>
                </a:cubicBezTo>
                <a:cubicBezTo>
                  <a:pt x="5457490" y="3249062"/>
                  <a:pt x="5393056" y="3412090"/>
                  <a:pt x="5318032" y="3567460"/>
                </a:cubicBezTo>
                <a:cubicBezTo>
                  <a:pt x="5246403" y="3703512"/>
                  <a:pt x="5166607" y="3834736"/>
                  <a:pt x="5075333" y="3948996"/>
                </a:cubicBezTo>
                <a:cubicBezTo>
                  <a:pt x="5025128" y="4008364"/>
                  <a:pt x="4978641" y="4074447"/>
                  <a:pt x="4924556" y="4127219"/>
                </a:cubicBezTo>
                <a:cubicBezTo>
                  <a:pt x="4833929" y="4221924"/>
                  <a:pt x="4736267" y="4300730"/>
                  <a:pt x="4635048" y="4368343"/>
                </a:cubicBezTo>
                <a:cubicBezTo>
                  <a:pt x="4545875" y="4421704"/>
                  <a:pt x="4453550" y="4465759"/>
                  <a:pt x="4359931" y="4482250"/>
                </a:cubicBezTo>
                <a:lnTo>
                  <a:pt x="4263401" y="4484960"/>
                </a:lnTo>
                <a:cubicBezTo>
                  <a:pt x="4105994" y="4489435"/>
                  <a:pt x="4027817" y="4304380"/>
                  <a:pt x="3999117" y="4107900"/>
                </a:cubicBezTo>
                <a:cubicBezTo>
                  <a:pt x="3982786" y="3996350"/>
                  <a:pt x="3980765" y="3880086"/>
                  <a:pt x="3984242" y="3763234"/>
                </a:cubicBezTo>
                <a:cubicBezTo>
                  <a:pt x="3985940" y="3624473"/>
                  <a:pt x="3992407" y="3485004"/>
                  <a:pt x="4001623" y="3345301"/>
                </a:cubicBezTo>
                <a:cubicBezTo>
                  <a:pt x="4006959" y="3276980"/>
                  <a:pt x="4012699" y="3208542"/>
                  <a:pt x="4018520" y="3140220"/>
                </a:cubicBezTo>
                <a:cubicBezTo>
                  <a:pt x="3985453" y="3241170"/>
                  <a:pt x="3952307" y="3342120"/>
                  <a:pt x="3918918" y="3442952"/>
                </a:cubicBezTo>
                <a:cubicBezTo>
                  <a:pt x="3863701" y="3611397"/>
                  <a:pt x="3803389" y="3777369"/>
                  <a:pt x="3739925" y="3941692"/>
                </a:cubicBezTo>
                <a:cubicBezTo>
                  <a:pt x="3602570" y="4297548"/>
                  <a:pt x="3480251" y="4629021"/>
                  <a:pt x="3266332" y="4905602"/>
                </a:cubicBezTo>
                <a:cubicBezTo>
                  <a:pt x="3060904" y="5171229"/>
                  <a:pt x="2795488" y="5377722"/>
                  <a:pt x="2513418" y="5349452"/>
                </a:cubicBezTo>
                <a:cubicBezTo>
                  <a:pt x="2339681" y="5332135"/>
                  <a:pt x="2280583" y="5075815"/>
                  <a:pt x="2277187" y="4857072"/>
                </a:cubicBezTo>
                <a:cubicBezTo>
                  <a:pt x="2271851" y="4510050"/>
                  <a:pt x="2288263" y="4162439"/>
                  <a:pt x="2326260" y="3819775"/>
                </a:cubicBezTo>
                <a:cubicBezTo>
                  <a:pt x="2310617" y="3866819"/>
                  <a:pt x="2212992" y="4271266"/>
                  <a:pt x="2048658" y="4760224"/>
                </a:cubicBezTo>
                <a:lnTo>
                  <a:pt x="1996876" y="4908063"/>
                </a:ln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D54D6AB9-BB50-7A8E-96E0-70DFABB05129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12A26B-B15B-78FA-A387-E9C046AE6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421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338A8E-AC52-8E78-8332-38A3B4F13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16944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woos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dient Background">
            <a:extLst>
              <a:ext uri="{FF2B5EF4-FFF2-40B4-BE49-F238E27FC236}">
                <a16:creationId xmlns:a16="http://schemas.microsoft.com/office/drawing/2014/main" id="{7BDE401D-4346-E214-A278-26C52B091835}"/>
              </a:ext>
            </a:extLst>
          </p:cNvPr>
          <p:cNvSpPr/>
          <p:nvPr userDrawn="1"/>
        </p:nvSpPr>
        <p:spPr>
          <a:xfrm>
            <a:off x="0" y="0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2" name="Squiggle">
            <a:extLst>
              <a:ext uri="{FF2B5EF4-FFF2-40B4-BE49-F238E27FC236}">
                <a16:creationId xmlns:a16="http://schemas.microsoft.com/office/drawing/2014/main" id="{92B22213-A051-71E7-9A41-11A3E82568DA}"/>
              </a:ext>
            </a:extLst>
          </p:cNvPr>
          <p:cNvSpPr>
            <a:spLocks/>
          </p:cNvSpPr>
          <p:nvPr userDrawn="1"/>
        </p:nvSpPr>
        <p:spPr bwMode="ltGray">
          <a:xfrm rot="8762903">
            <a:off x="-918620" y="638750"/>
            <a:ext cx="13864612" cy="6245410"/>
          </a:xfrm>
          <a:custGeom>
            <a:avLst/>
            <a:gdLst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996876 w 6958630"/>
              <a:gd name="connsiteY11" fmla="*/ 4908063 h 5352044"/>
              <a:gd name="connsiteX12" fmla="*/ 1398177 w 6958630"/>
              <a:gd name="connsiteY12" fmla="*/ 4201072 h 5352044"/>
              <a:gd name="connsiteX13" fmla="*/ 1590566 w 6958630"/>
              <a:gd name="connsiteY13" fmla="*/ 3604919 h 5352044"/>
              <a:gd name="connsiteX14" fmla="*/ 1974502 w 6958630"/>
              <a:gd name="connsiteY14" fmla="*/ 2496593 h 5352044"/>
              <a:gd name="connsiteX15" fmla="*/ 2349059 w 6958630"/>
              <a:gd name="connsiteY15" fmla="*/ 1514660 h 5352044"/>
              <a:gd name="connsiteX16" fmla="*/ 2474209 w 6958630"/>
              <a:gd name="connsiteY16" fmla="*/ 1195792 h 5352044"/>
              <a:gd name="connsiteX17" fmla="*/ 2595638 w 6958630"/>
              <a:gd name="connsiteY17" fmla="*/ 980346 h 5352044"/>
              <a:gd name="connsiteX18" fmla="*/ 3160829 w 6958630"/>
              <a:gd name="connsiteY18" fmla="*/ 512585 h 5352044"/>
              <a:gd name="connsiteX19" fmla="*/ 3435866 w 6958630"/>
              <a:gd name="connsiteY19" fmla="*/ 585618 h 5352044"/>
              <a:gd name="connsiteX20" fmla="*/ 3450660 w 6958630"/>
              <a:gd name="connsiteY20" fmla="*/ 838639 h 5352044"/>
              <a:gd name="connsiteX21" fmla="*/ 3404013 w 6958630"/>
              <a:gd name="connsiteY21" fmla="*/ 1499936 h 5352044"/>
              <a:gd name="connsiteX22" fmla="*/ 3313870 w 6958630"/>
              <a:gd name="connsiteY22" fmla="*/ 2850918 h 5352044"/>
              <a:gd name="connsiteX23" fmla="*/ 3369572 w 6958630"/>
              <a:gd name="connsiteY23" fmla="*/ 2686006 h 5352044"/>
              <a:gd name="connsiteX24" fmla="*/ 3706860 w 6958630"/>
              <a:gd name="connsiteY24" fmla="*/ 1716324 h 5352044"/>
              <a:gd name="connsiteX25" fmla="*/ 3936380 w 6958630"/>
              <a:gd name="connsiteY25" fmla="*/ 1155977 h 5352044"/>
              <a:gd name="connsiteX26" fmla="*/ 4337132 w 6958630"/>
              <a:gd name="connsiteY26" fmla="*/ 522126 h 5352044"/>
              <a:gd name="connsiteX27" fmla="*/ 4436557 w 6958630"/>
              <a:gd name="connsiteY27" fmla="*/ 425574 h 5352044"/>
              <a:gd name="connsiteX28" fmla="*/ 4508920 w 6958630"/>
              <a:gd name="connsiteY28" fmla="*/ 367382 h 5352044"/>
              <a:gd name="connsiteX29" fmla="*/ 5115640 w 6958630"/>
              <a:gd name="connsiteY29" fmla="*/ 1083845 h 5352044"/>
              <a:gd name="connsiteX30" fmla="*/ 5115018 w 6958630"/>
              <a:gd name="connsiteY30" fmla="*/ 1096653 h 5352044"/>
              <a:gd name="connsiteX31" fmla="*/ 5091987 w 6958630"/>
              <a:gd name="connsiteY31" fmla="*/ 1380611 h 5352044"/>
              <a:gd name="connsiteX32" fmla="*/ 5018983 w 6958630"/>
              <a:gd name="connsiteY32" fmla="*/ 2135554 h 5352044"/>
              <a:gd name="connsiteX33" fmla="*/ 4977834 w 6958630"/>
              <a:gd name="connsiteY33" fmla="*/ 2587648 h 5352044"/>
              <a:gd name="connsiteX34" fmla="*/ 5285289 w 6958630"/>
              <a:gd name="connsiteY34" fmla="*/ 2003389 h 5352044"/>
              <a:gd name="connsiteX35" fmla="*/ 5453822 w 6958630"/>
              <a:gd name="connsiteY35" fmla="*/ 1744212 h 5352044"/>
              <a:gd name="connsiteX36" fmla="*/ 5559908 w 6958630"/>
              <a:gd name="connsiteY36" fmla="*/ 1608472 h 5352044"/>
              <a:gd name="connsiteX37" fmla="*/ 6798419 w 6958630"/>
              <a:gd name="connsiteY37" fmla="*/ 3071005 h 5352044"/>
              <a:gd name="connsiteX38" fmla="*/ 6799849 w 6958630"/>
              <a:gd name="connsiteY38" fmla="*/ 3148467 h 5352044"/>
              <a:gd name="connsiteX39" fmla="*/ 6825478 w 6958630"/>
              <a:gd name="connsiteY39" fmla="*/ 3218437 h 5352044"/>
              <a:gd name="connsiteX40" fmla="*/ 6835906 w 6958630"/>
              <a:gd name="connsiteY40" fmla="*/ 3236811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825478 w 6958630"/>
              <a:gd name="connsiteY40" fmla="*/ 3218437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75" fmla="*/ 1996876 w 6958630"/>
              <a:gd name="connsiteY75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904383 w 6958630"/>
              <a:gd name="connsiteY40" fmla="*/ 3276626 h 5352044"/>
              <a:gd name="connsiteX41" fmla="*/ 6958630 w 6958630"/>
              <a:gd name="connsiteY41" fmla="*/ 3303366 h 5352044"/>
              <a:gd name="connsiteX42" fmla="*/ 6929041 w 6958630"/>
              <a:gd name="connsiteY42" fmla="*/ 3371333 h 5352044"/>
              <a:gd name="connsiteX43" fmla="*/ 6842183 w 6958630"/>
              <a:gd name="connsiteY43" fmla="*/ 3496813 h 5352044"/>
              <a:gd name="connsiteX44" fmla="*/ 6752598 w 6958630"/>
              <a:gd name="connsiteY44" fmla="*/ 3590980 h 5352044"/>
              <a:gd name="connsiteX45" fmla="*/ 6636435 w 6958630"/>
              <a:gd name="connsiteY45" fmla="*/ 3689350 h 5352044"/>
              <a:gd name="connsiteX46" fmla="*/ 6534262 w 6958630"/>
              <a:gd name="connsiteY46" fmla="*/ 3751543 h 5352044"/>
              <a:gd name="connsiteX47" fmla="*/ 6311623 w 6958630"/>
              <a:gd name="connsiteY47" fmla="*/ 3821071 h 5352044"/>
              <a:gd name="connsiteX48" fmla="*/ 6205393 w 6958630"/>
              <a:gd name="connsiteY48" fmla="*/ 3821425 h 5352044"/>
              <a:gd name="connsiteX49" fmla="*/ 6113794 w 6958630"/>
              <a:gd name="connsiteY49" fmla="*/ 3789856 h 5352044"/>
              <a:gd name="connsiteX50" fmla="*/ 5957763 w 6958630"/>
              <a:gd name="connsiteY50" fmla="*/ 3645087 h 5352044"/>
              <a:gd name="connsiteX51" fmla="*/ 5871500 w 6958630"/>
              <a:gd name="connsiteY51" fmla="*/ 3407024 h 5352044"/>
              <a:gd name="connsiteX52" fmla="*/ 5850157 w 6958630"/>
              <a:gd name="connsiteY52" fmla="*/ 3228802 h 5352044"/>
              <a:gd name="connsiteX53" fmla="*/ 5855735 w 6958630"/>
              <a:gd name="connsiteY53" fmla="*/ 2702379 h 5352044"/>
              <a:gd name="connsiteX54" fmla="*/ 5851694 w 6958630"/>
              <a:gd name="connsiteY54" fmla="*/ 2416140 h 5352044"/>
              <a:gd name="connsiteX55" fmla="*/ 5849753 w 6958630"/>
              <a:gd name="connsiteY55" fmla="*/ 2339220 h 5352044"/>
              <a:gd name="connsiteX56" fmla="*/ 5526775 w 6958630"/>
              <a:gd name="connsiteY56" fmla="*/ 3089687 h 5352044"/>
              <a:gd name="connsiteX57" fmla="*/ 5318032 w 6958630"/>
              <a:gd name="connsiteY57" fmla="*/ 3567460 h 5352044"/>
              <a:gd name="connsiteX58" fmla="*/ 5075333 w 6958630"/>
              <a:gd name="connsiteY58" fmla="*/ 3948996 h 5352044"/>
              <a:gd name="connsiteX59" fmla="*/ 4924556 w 6958630"/>
              <a:gd name="connsiteY59" fmla="*/ 4127219 h 5352044"/>
              <a:gd name="connsiteX60" fmla="*/ 4635048 w 6958630"/>
              <a:gd name="connsiteY60" fmla="*/ 4368343 h 5352044"/>
              <a:gd name="connsiteX61" fmla="*/ 4359931 w 6958630"/>
              <a:gd name="connsiteY61" fmla="*/ 4482250 h 5352044"/>
              <a:gd name="connsiteX62" fmla="*/ 4263401 w 6958630"/>
              <a:gd name="connsiteY62" fmla="*/ 4484960 h 5352044"/>
              <a:gd name="connsiteX63" fmla="*/ 3999117 w 6958630"/>
              <a:gd name="connsiteY63" fmla="*/ 4107900 h 5352044"/>
              <a:gd name="connsiteX64" fmla="*/ 3984242 w 6958630"/>
              <a:gd name="connsiteY64" fmla="*/ 3763234 h 5352044"/>
              <a:gd name="connsiteX65" fmla="*/ 4001623 w 6958630"/>
              <a:gd name="connsiteY65" fmla="*/ 3345301 h 5352044"/>
              <a:gd name="connsiteX66" fmla="*/ 4018520 w 6958630"/>
              <a:gd name="connsiteY66" fmla="*/ 3140220 h 5352044"/>
              <a:gd name="connsiteX67" fmla="*/ 3918918 w 6958630"/>
              <a:gd name="connsiteY67" fmla="*/ 3442952 h 5352044"/>
              <a:gd name="connsiteX68" fmla="*/ 3739925 w 6958630"/>
              <a:gd name="connsiteY68" fmla="*/ 3941692 h 5352044"/>
              <a:gd name="connsiteX69" fmla="*/ 3266332 w 6958630"/>
              <a:gd name="connsiteY69" fmla="*/ 4905602 h 5352044"/>
              <a:gd name="connsiteX70" fmla="*/ 2513418 w 6958630"/>
              <a:gd name="connsiteY70" fmla="*/ 5349452 h 5352044"/>
              <a:gd name="connsiteX71" fmla="*/ 2277187 w 6958630"/>
              <a:gd name="connsiteY71" fmla="*/ 4857072 h 5352044"/>
              <a:gd name="connsiteX72" fmla="*/ 2326260 w 6958630"/>
              <a:gd name="connsiteY72" fmla="*/ 3819775 h 5352044"/>
              <a:gd name="connsiteX73" fmla="*/ 2048658 w 6958630"/>
              <a:gd name="connsiteY73" fmla="*/ 4760224 h 5352044"/>
              <a:gd name="connsiteX74" fmla="*/ 1996876 w 6958630"/>
              <a:gd name="connsiteY74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904383 w 6958630"/>
              <a:gd name="connsiteY39" fmla="*/ 3276626 h 5352044"/>
              <a:gd name="connsiteX40" fmla="*/ 6958630 w 6958630"/>
              <a:gd name="connsiteY40" fmla="*/ 3303366 h 5352044"/>
              <a:gd name="connsiteX41" fmla="*/ 6929041 w 6958630"/>
              <a:gd name="connsiteY41" fmla="*/ 3371333 h 5352044"/>
              <a:gd name="connsiteX42" fmla="*/ 6842183 w 6958630"/>
              <a:gd name="connsiteY42" fmla="*/ 3496813 h 5352044"/>
              <a:gd name="connsiteX43" fmla="*/ 6752598 w 6958630"/>
              <a:gd name="connsiteY43" fmla="*/ 3590980 h 5352044"/>
              <a:gd name="connsiteX44" fmla="*/ 6636435 w 6958630"/>
              <a:gd name="connsiteY44" fmla="*/ 3689350 h 5352044"/>
              <a:gd name="connsiteX45" fmla="*/ 6534262 w 6958630"/>
              <a:gd name="connsiteY45" fmla="*/ 3751543 h 5352044"/>
              <a:gd name="connsiteX46" fmla="*/ 6311623 w 6958630"/>
              <a:gd name="connsiteY46" fmla="*/ 3821071 h 5352044"/>
              <a:gd name="connsiteX47" fmla="*/ 6205393 w 6958630"/>
              <a:gd name="connsiteY47" fmla="*/ 3821425 h 5352044"/>
              <a:gd name="connsiteX48" fmla="*/ 6113794 w 6958630"/>
              <a:gd name="connsiteY48" fmla="*/ 3789856 h 5352044"/>
              <a:gd name="connsiteX49" fmla="*/ 5957763 w 6958630"/>
              <a:gd name="connsiteY49" fmla="*/ 3645087 h 5352044"/>
              <a:gd name="connsiteX50" fmla="*/ 5871500 w 6958630"/>
              <a:gd name="connsiteY50" fmla="*/ 3407024 h 5352044"/>
              <a:gd name="connsiteX51" fmla="*/ 5850157 w 6958630"/>
              <a:gd name="connsiteY51" fmla="*/ 3228802 h 5352044"/>
              <a:gd name="connsiteX52" fmla="*/ 5855735 w 6958630"/>
              <a:gd name="connsiteY52" fmla="*/ 2702379 h 5352044"/>
              <a:gd name="connsiteX53" fmla="*/ 5851694 w 6958630"/>
              <a:gd name="connsiteY53" fmla="*/ 2416140 h 5352044"/>
              <a:gd name="connsiteX54" fmla="*/ 5849753 w 6958630"/>
              <a:gd name="connsiteY54" fmla="*/ 2339220 h 5352044"/>
              <a:gd name="connsiteX55" fmla="*/ 5526775 w 6958630"/>
              <a:gd name="connsiteY55" fmla="*/ 3089687 h 5352044"/>
              <a:gd name="connsiteX56" fmla="*/ 5318032 w 6958630"/>
              <a:gd name="connsiteY56" fmla="*/ 3567460 h 5352044"/>
              <a:gd name="connsiteX57" fmla="*/ 5075333 w 6958630"/>
              <a:gd name="connsiteY57" fmla="*/ 3948996 h 5352044"/>
              <a:gd name="connsiteX58" fmla="*/ 4924556 w 6958630"/>
              <a:gd name="connsiteY58" fmla="*/ 4127219 h 5352044"/>
              <a:gd name="connsiteX59" fmla="*/ 4635048 w 6958630"/>
              <a:gd name="connsiteY59" fmla="*/ 4368343 h 5352044"/>
              <a:gd name="connsiteX60" fmla="*/ 4359931 w 6958630"/>
              <a:gd name="connsiteY60" fmla="*/ 4482250 h 5352044"/>
              <a:gd name="connsiteX61" fmla="*/ 4263401 w 6958630"/>
              <a:gd name="connsiteY61" fmla="*/ 4484960 h 5352044"/>
              <a:gd name="connsiteX62" fmla="*/ 3999117 w 6958630"/>
              <a:gd name="connsiteY62" fmla="*/ 4107900 h 5352044"/>
              <a:gd name="connsiteX63" fmla="*/ 3984242 w 6958630"/>
              <a:gd name="connsiteY63" fmla="*/ 3763234 h 5352044"/>
              <a:gd name="connsiteX64" fmla="*/ 4001623 w 6958630"/>
              <a:gd name="connsiteY64" fmla="*/ 3345301 h 5352044"/>
              <a:gd name="connsiteX65" fmla="*/ 4018520 w 6958630"/>
              <a:gd name="connsiteY65" fmla="*/ 3140220 h 5352044"/>
              <a:gd name="connsiteX66" fmla="*/ 3918918 w 6958630"/>
              <a:gd name="connsiteY66" fmla="*/ 3442952 h 5352044"/>
              <a:gd name="connsiteX67" fmla="*/ 3739925 w 6958630"/>
              <a:gd name="connsiteY67" fmla="*/ 3941692 h 5352044"/>
              <a:gd name="connsiteX68" fmla="*/ 3266332 w 6958630"/>
              <a:gd name="connsiteY68" fmla="*/ 4905602 h 5352044"/>
              <a:gd name="connsiteX69" fmla="*/ 2513418 w 6958630"/>
              <a:gd name="connsiteY69" fmla="*/ 5349452 h 5352044"/>
              <a:gd name="connsiteX70" fmla="*/ 2277187 w 6958630"/>
              <a:gd name="connsiteY70" fmla="*/ 4857072 h 5352044"/>
              <a:gd name="connsiteX71" fmla="*/ 2326260 w 6958630"/>
              <a:gd name="connsiteY71" fmla="*/ 3819775 h 5352044"/>
              <a:gd name="connsiteX72" fmla="*/ 2048658 w 6958630"/>
              <a:gd name="connsiteY72" fmla="*/ 4760224 h 5352044"/>
              <a:gd name="connsiteX73" fmla="*/ 1996876 w 6958630"/>
              <a:gd name="connsiteY73" fmla="*/ 4908063 h 5352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6958630" h="5352044">
                <a:moveTo>
                  <a:pt x="1075189" y="3819662"/>
                </a:moveTo>
                <a:lnTo>
                  <a:pt x="0" y="2549993"/>
                </a:lnTo>
                <a:lnTo>
                  <a:pt x="273834" y="1601357"/>
                </a:lnTo>
                <a:cubicBezTo>
                  <a:pt x="334145" y="1401224"/>
                  <a:pt x="392071" y="1194731"/>
                  <a:pt x="455464" y="992346"/>
                </a:cubicBezTo>
                <a:lnTo>
                  <a:pt x="482058" y="912917"/>
                </a:lnTo>
                <a:lnTo>
                  <a:pt x="1560103" y="0"/>
                </a:lnTo>
                <a:lnTo>
                  <a:pt x="1563049" y="19661"/>
                </a:lnTo>
                <a:cubicBezTo>
                  <a:pt x="1562735" y="79603"/>
                  <a:pt x="1547759" y="145008"/>
                  <a:pt x="1535672" y="208675"/>
                </a:cubicBezTo>
                <a:cubicBezTo>
                  <a:pt x="1503981" y="375590"/>
                  <a:pt x="1464447" y="539089"/>
                  <a:pt x="1431946" y="705650"/>
                </a:cubicBezTo>
                <a:cubicBezTo>
                  <a:pt x="1382793" y="957376"/>
                  <a:pt x="1338086" y="1211340"/>
                  <a:pt x="1308739" y="1469663"/>
                </a:cubicBezTo>
                <a:cubicBezTo>
                  <a:pt x="1231248" y="2152398"/>
                  <a:pt x="1132111" y="2839043"/>
                  <a:pt x="1089432" y="3521397"/>
                </a:cubicBezTo>
                <a:lnTo>
                  <a:pt x="1075189" y="3819662"/>
                </a:lnTo>
                <a:close/>
                <a:moveTo>
                  <a:pt x="1996876" y="4908063"/>
                </a:moveTo>
                <a:lnTo>
                  <a:pt x="1398177" y="4201072"/>
                </a:lnTo>
                <a:lnTo>
                  <a:pt x="1590566" y="3604919"/>
                </a:lnTo>
                <a:cubicBezTo>
                  <a:pt x="1715230" y="3233985"/>
                  <a:pt x="1843451" y="2864347"/>
                  <a:pt x="1974502" y="2496593"/>
                </a:cubicBezTo>
                <a:cubicBezTo>
                  <a:pt x="2096579" y="2167829"/>
                  <a:pt x="2219221" y="1839301"/>
                  <a:pt x="2349059" y="1514660"/>
                </a:cubicBezTo>
                <a:cubicBezTo>
                  <a:pt x="2389159" y="1407350"/>
                  <a:pt x="2429178" y="1300275"/>
                  <a:pt x="2474209" y="1195792"/>
                </a:cubicBezTo>
                <a:cubicBezTo>
                  <a:pt x="2506143" y="1116870"/>
                  <a:pt x="2552548" y="1049491"/>
                  <a:pt x="2595638" y="980346"/>
                </a:cubicBezTo>
                <a:cubicBezTo>
                  <a:pt x="2735420" y="756066"/>
                  <a:pt x="2952975" y="554992"/>
                  <a:pt x="3160829" y="512585"/>
                </a:cubicBezTo>
                <a:cubicBezTo>
                  <a:pt x="3221463" y="500216"/>
                  <a:pt x="3408378" y="448388"/>
                  <a:pt x="3435866" y="585618"/>
                </a:cubicBezTo>
                <a:cubicBezTo>
                  <a:pt x="3451954" y="666424"/>
                  <a:pt x="3452762" y="752296"/>
                  <a:pt x="3450660" y="838639"/>
                </a:cubicBezTo>
                <a:cubicBezTo>
                  <a:pt x="3439018" y="1058797"/>
                  <a:pt x="3418080" y="1279661"/>
                  <a:pt x="3404013" y="1499936"/>
                </a:cubicBezTo>
                <a:cubicBezTo>
                  <a:pt x="3374990" y="1950264"/>
                  <a:pt x="3346451" y="2400472"/>
                  <a:pt x="3313870" y="2850918"/>
                </a:cubicBezTo>
                <a:cubicBezTo>
                  <a:pt x="3332222" y="2798028"/>
                  <a:pt x="3350735" y="2741958"/>
                  <a:pt x="3369572" y="2686006"/>
                </a:cubicBezTo>
                <a:cubicBezTo>
                  <a:pt x="3474752" y="2359481"/>
                  <a:pt x="3593999" y="2039316"/>
                  <a:pt x="3706860" y="1716324"/>
                </a:cubicBezTo>
                <a:cubicBezTo>
                  <a:pt x="3783340" y="1529502"/>
                  <a:pt x="3858769" y="1342092"/>
                  <a:pt x="3936380" y="1155977"/>
                </a:cubicBezTo>
                <a:cubicBezTo>
                  <a:pt x="4039217" y="901659"/>
                  <a:pt x="4175037" y="691750"/>
                  <a:pt x="4337132" y="522126"/>
                </a:cubicBezTo>
                <a:cubicBezTo>
                  <a:pt x="4369187" y="488614"/>
                  <a:pt x="4402385" y="456103"/>
                  <a:pt x="4436557" y="425574"/>
                </a:cubicBezTo>
                <a:lnTo>
                  <a:pt x="4508920" y="367382"/>
                </a:lnTo>
                <a:lnTo>
                  <a:pt x="5115640" y="1083845"/>
                </a:lnTo>
                <a:cubicBezTo>
                  <a:pt x="5115433" y="1088114"/>
                  <a:pt x="5115225" y="1092384"/>
                  <a:pt x="5115018" y="1096653"/>
                </a:cubicBezTo>
                <a:cubicBezTo>
                  <a:pt x="5108399" y="1191256"/>
                  <a:pt x="5100234" y="1285963"/>
                  <a:pt x="5091987" y="1380611"/>
                </a:cubicBezTo>
                <a:cubicBezTo>
                  <a:pt x="5067734" y="1632219"/>
                  <a:pt x="5042105" y="1883946"/>
                  <a:pt x="5018983" y="2135554"/>
                </a:cubicBezTo>
                <a:cubicBezTo>
                  <a:pt x="5005644" y="2286213"/>
                  <a:pt x="4990608" y="2436988"/>
                  <a:pt x="4977834" y="2587648"/>
                </a:cubicBezTo>
                <a:cubicBezTo>
                  <a:pt x="5067734" y="2382804"/>
                  <a:pt x="5169275" y="2185970"/>
                  <a:pt x="5285289" y="2003389"/>
                </a:cubicBezTo>
                <a:cubicBezTo>
                  <a:pt x="5338404" y="1913394"/>
                  <a:pt x="5394693" y="1826992"/>
                  <a:pt x="5453822" y="1744212"/>
                </a:cubicBezTo>
                <a:lnTo>
                  <a:pt x="5559908" y="1608472"/>
                </a:lnTo>
                <a:lnTo>
                  <a:pt x="6798419" y="3071005"/>
                </a:lnTo>
                <a:cubicBezTo>
                  <a:pt x="7022498" y="3349031"/>
                  <a:pt x="6877681" y="3237899"/>
                  <a:pt x="6904383" y="3276626"/>
                </a:cubicBezTo>
                <a:cubicBezTo>
                  <a:pt x="6931085" y="3315353"/>
                  <a:pt x="6916024" y="3277333"/>
                  <a:pt x="6958630" y="3303366"/>
                </a:cubicBezTo>
                <a:cubicBezTo>
                  <a:pt x="6951435" y="3327514"/>
                  <a:pt x="6940360" y="3349895"/>
                  <a:pt x="6929041" y="3371333"/>
                </a:cubicBezTo>
                <a:cubicBezTo>
                  <a:pt x="6903291" y="3416979"/>
                  <a:pt x="6873864" y="3458560"/>
                  <a:pt x="6842183" y="3496813"/>
                </a:cubicBezTo>
                <a:lnTo>
                  <a:pt x="6752598" y="3590980"/>
                </a:lnTo>
                <a:lnTo>
                  <a:pt x="6636435" y="3689350"/>
                </a:lnTo>
                <a:lnTo>
                  <a:pt x="6534262" y="3751543"/>
                </a:lnTo>
                <a:cubicBezTo>
                  <a:pt x="6461450" y="3788383"/>
                  <a:pt x="6386122" y="3811941"/>
                  <a:pt x="6311623" y="3821071"/>
                </a:cubicBezTo>
                <a:cubicBezTo>
                  <a:pt x="6276293" y="3821071"/>
                  <a:pt x="6240237" y="3825901"/>
                  <a:pt x="6205393" y="3821425"/>
                </a:cubicBezTo>
                <a:cubicBezTo>
                  <a:pt x="6173378" y="3816949"/>
                  <a:pt x="6144192" y="3800928"/>
                  <a:pt x="6113794" y="3789856"/>
                </a:cubicBezTo>
                <a:cubicBezTo>
                  <a:pt x="6049199" y="3766885"/>
                  <a:pt x="6001500" y="3706693"/>
                  <a:pt x="5957763" y="3645087"/>
                </a:cubicBezTo>
                <a:cubicBezTo>
                  <a:pt x="5909660" y="3583952"/>
                  <a:pt x="5886294" y="3495606"/>
                  <a:pt x="5871500" y="3407024"/>
                </a:cubicBezTo>
                <a:cubicBezTo>
                  <a:pt x="5863092" y="3348127"/>
                  <a:pt x="5850885" y="3290408"/>
                  <a:pt x="5850157" y="3228802"/>
                </a:cubicBezTo>
                <a:cubicBezTo>
                  <a:pt x="5850400" y="3053642"/>
                  <a:pt x="5852987" y="2878010"/>
                  <a:pt x="5855735" y="2702379"/>
                </a:cubicBezTo>
                <a:cubicBezTo>
                  <a:pt x="5857594" y="2606377"/>
                  <a:pt x="5854684" y="2511200"/>
                  <a:pt x="5851694" y="2416140"/>
                </a:cubicBezTo>
                <a:cubicBezTo>
                  <a:pt x="5851046" y="2390579"/>
                  <a:pt x="5850480" y="2364900"/>
                  <a:pt x="5849753" y="2339220"/>
                </a:cubicBezTo>
                <a:cubicBezTo>
                  <a:pt x="5734872" y="2584115"/>
                  <a:pt x="5634056" y="2840199"/>
                  <a:pt x="5526775" y="3089687"/>
                </a:cubicBezTo>
                <a:cubicBezTo>
                  <a:pt x="5457490" y="3249062"/>
                  <a:pt x="5393056" y="3412090"/>
                  <a:pt x="5318032" y="3567460"/>
                </a:cubicBezTo>
                <a:cubicBezTo>
                  <a:pt x="5246403" y="3703512"/>
                  <a:pt x="5166607" y="3834736"/>
                  <a:pt x="5075333" y="3948996"/>
                </a:cubicBezTo>
                <a:cubicBezTo>
                  <a:pt x="5025128" y="4008364"/>
                  <a:pt x="4978641" y="4074447"/>
                  <a:pt x="4924556" y="4127219"/>
                </a:cubicBezTo>
                <a:cubicBezTo>
                  <a:pt x="4833929" y="4221924"/>
                  <a:pt x="4736267" y="4300730"/>
                  <a:pt x="4635048" y="4368343"/>
                </a:cubicBezTo>
                <a:cubicBezTo>
                  <a:pt x="4545875" y="4421704"/>
                  <a:pt x="4453550" y="4465759"/>
                  <a:pt x="4359931" y="4482250"/>
                </a:cubicBezTo>
                <a:lnTo>
                  <a:pt x="4263401" y="4484960"/>
                </a:lnTo>
                <a:cubicBezTo>
                  <a:pt x="4105994" y="4489435"/>
                  <a:pt x="4027817" y="4304380"/>
                  <a:pt x="3999117" y="4107900"/>
                </a:cubicBezTo>
                <a:cubicBezTo>
                  <a:pt x="3982786" y="3996350"/>
                  <a:pt x="3980765" y="3880086"/>
                  <a:pt x="3984242" y="3763234"/>
                </a:cubicBezTo>
                <a:cubicBezTo>
                  <a:pt x="3985940" y="3624473"/>
                  <a:pt x="3992407" y="3485004"/>
                  <a:pt x="4001623" y="3345301"/>
                </a:cubicBezTo>
                <a:cubicBezTo>
                  <a:pt x="4006959" y="3276980"/>
                  <a:pt x="4012699" y="3208542"/>
                  <a:pt x="4018520" y="3140220"/>
                </a:cubicBezTo>
                <a:cubicBezTo>
                  <a:pt x="3985453" y="3241170"/>
                  <a:pt x="3952307" y="3342120"/>
                  <a:pt x="3918918" y="3442952"/>
                </a:cubicBezTo>
                <a:cubicBezTo>
                  <a:pt x="3863701" y="3611397"/>
                  <a:pt x="3803389" y="3777369"/>
                  <a:pt x="3739925" y="3941692"/>
                </a:cubicBezTo>
                <a:cubicBezTo>
                  <a:pt x="3602570" y="4297548"/>
                  <a:pt x="3480251" y="4629021"/>
                  <a:pt x="3266332" y="4905602"/>
                </a:cubicBezTo>
                <a:cubicBezTo>
                  <a:pt x="3060904" y="5171229"/>
                  <a:pt x="2795488" y="5377722"/>
                  <a:pt x="2513418" y="5349452"/>
                </a:cubicBezTo>
                <a:cubicBezTo>
                  <a:pt x="2339681" y="5332135"/>
                  <a:pt x="2280583" y="5075815"/>
                  <a:pt x="2277187" y="4857072"/>
                </a:cubicBezTo>
                <a:cubicBezTo>
                  <a:pt x="2271851" y="4510050"/>
                  <a:pt x="2288263" y="4162439"/>
                  <a:pt x="2326260" y="3819775"/>
                </a:cubicBezTo>
                <a:cubicBezTo>
                  <a:pt x="2310617" y="3866819"/>
                  <a:pt x="2212992" y="4271266"/>
                  <a:pt x="2048658" y="4760224"/>
                </a:cubicBezTo>
                <a:lnTo>
                  <a:pt x="1996876" y="4908063"/>
                </a:ln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Page Number">
            <a:extLst>
              <a:ext uri="{FF2B5EF4-FFF2-40B4-BE49-F238E27FC236}">
                <a16:creationId xmlns:a16="http://schemas.microsoft.com/office/drawing/2014/main" id="{B55B9341-9544-C158-D07A-111F9336852E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0CE39731-51F7-534C-C99E-3EF237C37E9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52000" y="1700808"/>
            <a:ext cx="11088001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824834-4FB9-36DE-58A3-BE0BA2340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8963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9550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ight Blu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age Number">
            <a:extLst>
              <a:ext uri="{FF2B5EF4-FFF2-40B4-BE49-F238E27FC236}">
                <a16:creationId xmlns:a16="http://schemas.microsoft.com/office/drawing/2014/main" id="{AD1E3271-5090-C512-48EF-8FBB3657A624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54999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Blue Squigg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Box">
            <a:extLst>
              <a:ext uri="{FF2B5EF4-FFF2-40B4-BE49-F238E27FC236}">
                <a16:creationId xmlns:a16="http://schemas.microsoft.com/office/drawing/2014/main" id="{20D1D068-8642-4E0E-61F9-86262A4F54E3}"/>
              </a:ext>
            </a:extLst>
          </p:cNvPr>
          <p:cNvSpPr/>
          <p:nvPr/>
        </p:nvSpPr>
        <p:spPr bwMode="white">
          <a:xfrm>
            <a:off x="0" y="2006601"/>
            <a:ext cx="6096000" cy="4851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1" name="Squiggle">
            <a:extLst>
              <a:ext uri="{FF2B5EF4-FFF2-40B4-BE49-F238E27FC236}">
                <a16:creationId xmlns:a16="http://schemas.microsoft.com/office/drawing/2014/main" id="{9A328A6D-FD87-898A-9B1A-71C3E60F33FF}"/>
              </a:ext>
            </a:extLst>
          </p:cNvPr>
          <p:cNvSpPr/>
          <p:nvPr/>
        </p:nvSpPr>
        <p:spPr bwMode="invGray">
          <a:xfrm rot="7815528">
            <a:off x="-837800" y="-132284"/>
            <a:ext cx="9817614" cy="7561373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4182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Box">
            <a:extLst>
              <a:ext uri="{FF2B5EF4-FFF2-40B4-BE49-F238E27FC236}">
                <a16:creationId xmlns:a16="http://schemas.microsoft.com/office/drawing/2014/main" id="{20D1D068-8642-4E0E-61F9-86262A4F54E3}"/>
              </a:ext>
            </a:extLst>
          </p:cNvPr>
          <p:cNvSpPr/>
          <p:nvPr/>
        </p:nvSpPr>
        <p:spPr bwMode="white">
          <a:xfrm>
            <a:off x="0" y="2006601"/>
            <a:ext cx="6096000" cy="4851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1" name="Squiggle">
            <a:extLst>
              <a:ext uri="{FF2B5EF4-FFF2-40B4-BE49-F238E27FC236}">
                <a16:creationId xmlns:a16="http://schemas.microsoft.com/office/drawing/2014/main" id="{9A328A6D-FD87-898A-9B1A-71C3E60F33FF}"/>
              </a:ext>
            </a:extLst>
          </p:cNvPr>
          <p:cNvSpPr/>
          <p:nvPr/>
        </p:nvSpPr>
        <p:spPr bwMode="invGray">
          <a:xfrm rot="7815528">
            <a:off x="-837800" y="-132284"/>
            <a:ext cx="9817614" cy="7561373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8EF30D9B-1CE5-162E-5F5B-B41EF638673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2000" y="1700808"/>
            <a:ext cx="11088001" cy="43200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800" baseline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800" baseline="0">
                <a:solidFill>
                  <a:schemeClr val="tx1"/>
                </a:solidFill>
              </a:defRPr>
            </a:lvl2pPr>
            <a:lvl3pPr>
              <a:defRPr sz="1800" baseline="0">
                <a:solidFill>
                  <a:schemeClr val="tx1"/>
                </a:solidFill>
              </a:defRPr>
            </a:lvl3pPr>
            <a:lvl4pPr>
              <a:defRPr sz="1600" baseline="0">
                <a:solidFill>
                  <a:schemeClr val="tx1"/>
                </a:solidFill>
              </a:defRPr>
            </a:lvl4pPr>
            <a:lvl5pPr>
              <a:defRPr sz="1800" baseline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buAutoNum type="alphaLcParenR"/>
              <a:defRPr/>
            </a:lvl8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3757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radient Box">
            <a:extLst>
              <a:ext uri="{FF2B5EF4-FFF2-40B4-BE49-F238E27FC236}">
                <a16:creationId xmlns:a16="http://schemas.microsoft.com/office/drawing/2014/main" id="{5FA2F412-DAB1-79A8-EE6D-856B95DA3CE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2087821"/>
            <a:ext cx="6096000" cy="4770179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Squiggle">
            <a:extLst>
              <a:ext uri="{FF2B5EF4-FFF2-40B4-BE49-F238E27FC236}">
                <a16:creationId xmlns:a16="http://schemas.microsoft.com/office/drawing/2014/main" id="{47F53373-D50B-883E-FDDA-7108820460D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089" t="12023" r="24259" b="38040"/>
          <a:stretch/>
        </p:blipFill>
        <p:spPr>
          <a:xfrm>
            <a:off x="0" y="2053095"/>
            <a:ext cx="6096000" cy="4770179"/>
          </a:xfrm>
          <a:prstGeom prst="rect">
            <a:avLst/>
          </a:prstGeom>
        </p:spPr>
      </p:pic>
      <p:sp>
        <p:nvSpPr>
          <p:cNvPr id="13" name="Content">
            <a:extLst>
              <a:ext uri="{FF2B5EF4-FFF2-40B4-BE49-F238E27FC236}">
                <a16:creationId xmlns:a16="http://schemas.microsoft.com/office/drawing/2014/main" id="{29AFB3F8-FA85-8CE0-015D-62EB0BF10F3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88000" y="2053095"/>
            <a:ext cx="5040000" cy="39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400"/>
              </a:spcBef>
              <a:spcAft>
                <a:spcPts val="0"/>
              </a:spcAft>
              <a:defRPr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Tx/>
              <a:buNone/>
              <a:defRPr sz="1200"/>
            </a:lvl2pPr>
            <a:lvl3pPr marL="180000" indent="-180000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200"/>
            </a:lvl3pPr>
            <a:lvl4pPr marL="360000" indent="-180000">
              <a:spcBef>
                <a:spcPts val="0"/>
              </a:spcBef>
              <a:spcAft>
                <a:spcPts val="300"/>
              </a:spcAft>
              <a:defRPr sz="1200"/>
            </a:lvl4pPr>
            <a:lvl5pPr>
              <a:spcAft>
                <a:spcPts val="3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DF4F03E-3E76-8B40-7DFE-45514CEB5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700811"/>
            <a:ext cx="8640000" cy="974626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0779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4158" userDrawn="1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">
            <a:extLst>
              <a:ext uri="{FF2B5EF4-FFF2-40B4-BE49-F238E27FC236}">
                <a16:creationId xmlns:a16="http://schemas.microsoft.com/office/drawing/2014/main" id="{29AFB3F8-FA85-8CE0-015D-62EB0BF10F3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88000" y="2053095"/>
            <a:ext cx="5040000" cy="39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400"/>
              </a:spcBef>
              <a:spcAft>
                <a:spcPts val="0"/>
              </a:spcAft>
              <a:defRPr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Tx/>
              <a:buNone/>
              <a:defRPr sz="1200">
                <a:solidFill>
                  <a:schemeClr val="tx1"/>
                </a:solidFill>
              </a:defRPr>
            </a:lvl2pPr>
            <a:lvl3pPr marL="180000" indent="-180000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360000" indent="-180000">
              <a:spcBef>
                <a:spcPts val="0"/>
              </a:spcBef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DF4F03E-3E76-8B40-7DFE-45514CEB5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700811"/>
            <a:ext cx="8639999" cy="974626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7ADB17EC-3535-10B4-EA22-3FF7B2394167}"/>
              </a:ext>
            </a:extLst>
          </p:cNvPr>
          <p:cNvSpPr/>
          <p:nvPr userDrawn="1"/>
        </p:nvSpPr>
        <p:spPr bwMode="invGray">
          <a:xfrm rot="7860000">
            <a:off x="-623711" y="1951769"/>
            <a:ext cx="6944766" cy="5297390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2898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 userDrawn="1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quiggle">
            <a:extLst>
              <a:ext uri="{FF2B5EF4-FFF2-40B4-BE49-F238E27FC236}">
                <a16:creationId xmlns:a16="http://schemas.microsoft.com/office/drawing/2014/main" id="{EDD39493-F2CF-026A-6F49-50AB1BFEF1DE}"/>
              </a:ext>
            </a:extLst>
          </p:cNvPr>
          <p:cNvSpPr/>
          <p:nvPr userDrawn="1"/>
        </p:nvSpPr>
        <p:spPr bwMode="invGray">
          <a:xfrm rot="7860000">
            <a:off x="-623711" y="1951769"/>
            <a:ext cx="6944766" cy="5297390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C2BE0690-F2BB-4B76-BB0D-557C7721AAB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0" y="2053095"/>
            <a:ext cx="5545200" cy="3960000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59308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 userDrawn="1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B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B4BF50-2D1E-CA40-0FB2-36E1EA6BA1F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3429000"/>
            <a:ext cx="7283937" cy="3429000"/>
          </a:xfrm>
          <a:prstGeom prst="rect">
            <a:avLst/>
          </a:prstGeom>
          <a:gradFill flip="none" rotWithShape="1">
            <a:gsLst>
              <a:gs pos="100000">
                <a:srgbClr val="538FFF"/>
              </a:gs>
              <a:gs pos="0">
                <a:schemeClr val="accent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5DA475-FB71-0BBA-510C-ADB2FD2DA1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069" t="47897" r="25456" b="37789"/>
          <a:stretch/>
        </p:blipFill>
        <p:spPr>
          <a:xfrm>
            <a:off x="0" y="3429000"/>
            <a:ext cx="7283938" cy="3429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E932EFA-8AA8-BF3A-8E90-B96BE7D6C80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910856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 userDrawn="1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C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22BBFAD-E787-8011-D4CF-33339EB6A037}"/>
              </a:ext>
            </a:extLst>
          </p:cNvPr>
          <p:cNvGrpSpPr/>
          <p:nvPr userDrawn="1"/>
        </p:nvGrpSpPr>
        <p:grpSpPr>
          <a:xfrm>
            <a:off x="0" y="3429000"/>
            <a:ext cx="7283939" cy="3429000"/>
            <a:chOff x="0" y="3429000"/>
            <a:chExt cx="7283939" cy="3429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D016B5D-D24E-9CB9-D617-AD70A2A126D8}"/>
                </a:ext>
              </a:extLst>
            </p:cNvPr>
            <p:cNvSpPr/>
            <p:nvPr/>
          </p:nvSpPr>
          <p:spPr>
            <a:xfrm>
              <a:off x="0" y="3429000"/>
              <a:ext cx="7283938" cy="3429000"/>
            </a:xfrm>
            <a:prstGeom prst="rect">
              <a:avLst/>
            </a:prstGeom>
            <a:gradFill flip="none" rotWithShape="1"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F2AA39B-CCCF-C240-23CB-DE7BB92736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90" t="31180" r="17841" b="39499"/>
            <a:stretch/>
          </p:blipFill>
          <p:spPr>
            <a:xfrm>
              <a:off x="1" y="3429000"/>
              <a:ext cx="7283938" cy="3428999"/>
            </a:xfrm>
            <a:prstGeom prst="rect">
              <a:avLst/>
            </a:prstGeom>
            <a:gradFill>
              <a:gsLst>
                <a:gs pos="100000">
                  <a:schemeClr val="accent4"/>
                </a:gs>
                <a:gs pos="15000">
                  <a:schemeClr val="accent5"/>
                </a:gs>
              </a:gsLst>
              <a:lin ang="18900000" scaled="0"/>
            </a:gradFill>
          </p:spPr>
        </p:pic>
      </p:grp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7998FA82-AE58-DF57-EE9E-73FF8FEAD9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99410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>
            <a:extLst>
              <a:ext uri="{FF2B5EF4-FFF2-40B4-BE49-F238E27FC236}">
                <a16:creationId xmlns:a16="http://schemas.microsoft.com/office/drawing/2014/main" id="{DB4EAF0F-926C-C687-2CAB-EBECD17C8A7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2000" y="1700808"/>
            <a:ext cx="11088001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034C86-AB12-63AB-0C99-237B154741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C48087-4076-5754-C666-1808BF3AAA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2000" y="956760"/>
            <a:ext cx="11088001" cy="312009"/>
          </a:xfrm>
        </p:spPr>
        <p:txBody>
          <a:bodyPr/>
          <a:lstStyle>
            <a:lvl1pPr>
              <a:defRPr lang="en-GB" sz="2000" b="0" i="0" kern="1200" spc="0" baseline="0" dirty="0">
                <a:solidFill>
                  <a:schemeClr val="accent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lvl="0" indent="0" algn="l" defTabSz="972000" rtl="0" eaLnBrk="1" latinLnBrk="0" hangingPunct="1">
              <a:lnSpc>
                <a:spcPct val="105000"/>
              </a:lnSpc>
              <a:spcBef>
                <a:spcPct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414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BB9FD7F-5FBF-985A-0063-937C8E3ACAB9}"/>
              </a:ext>
            </a:extLst>
          </p:cNvPr>
          <p:cNvGrpSpPr/>
          <p:nvPr userDrawn="1"/>
        </p:nvGrpSpPr>
        <p:grpSpPr>
          <a:xfrm>
            <a:off x="0" y="3429000"/>
            <a:ext cx="7288438" cy="3429000"/>
            <a:chOff x="19894" y="7414846"/>
            <a:chExt cx="7288438" cy="3429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01F38A6-A653-4D8B-F6B4-8CC75E37B668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19894" y="7414846"/>
              <a:ext cx="7288437" cy="3429000"/>
            </a:xfrm>
            <a:prstGeom prst="rect">
              <a:avLst/>
            </a:prstGeom>
            <a:gradFill flip="none" rotWithShape="1">
              <a:gsLst>
                <a:gs pos="100000">
                  <a:schemeClr val="accent2"/>
                </a:gs>
                <a:gs pos="1000">
                  <a:schemeClr val="accent6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DF7126E-93D4-E0D7-3AC2-EACA70BF87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2310" t="53061" r="11726" b="7052"/>
            <a:stretch/>
          </p:blipFill>
          <p:spPr>
            <a:xfrm>
              <a:off x="19894" y="7414846"/>
              <a:ext cx="7288438" cy="3429000"/>
            </a:xfrm>
            <a:prstGeom prst="rect">
              <a:avLst/>
            </a:prstGeom>
          </p:spPr>
        </p:pic>
      </p:grp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9D3DA5B8-F575-6DF1-AC3B-8C7584D5B6D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38816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 userDrawn="1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D7B03C3-5872-48EE-C266-2FF14E1A1C68}"/>
              </a:ext>
            </a:extLst>
          </p:cNvPr>
          <p:cNvGrpSpPr/>
          <p:nvPr userDrawn="1"/>
        </p:nvGrpSpPr>
        <p:grpSpPr>
          <a:xfrm>
            <a:off x="0" y="3429000"/>
            <a:ext cx="7288438" cy="3429000"/>
            <a:chOff x="0" y="3429000"/>
            <a:chExt cx="7288438" cy="3429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5038A97-5369-6B5D-5B6A-EB11A293CCF8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1" y="3429000"/>
              <a:ext cx="7288437" cy="3429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DA01EF1-C789-CE8A-1295-17E3F74881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9391" t="46740" r="25927" b="25063"/>
            <a:stretch/>
          </p:blipFill>
          <p:spPr>
            <a:xfrm>
              <a:off x="0" y="3465513"/>
              <a:ext cx="7288438" cy="3392487"/>
            </a:xfrm>
            <a:prstGeom prst="rect">
              <a:avLst/>
            </a:prstGeom>
          </p:spPr>
        </p:pic>
      </p:grp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28112D3A-C423-0B68-D701-2CC0D24291C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540414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 userDrawn="1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Block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ght Blue Background Box">
            <a:extLst>
              <a:ext uri="{FF2B5EF4-FFF2-40B4-BE49-F238E27FC236}">
                <a16:creationId xmlns:a16="http://schemas.microsoft.com/office/drawing/2014/main" id="{B7DAB3D9-5015-A550-69A8-D68640397954}"/>
              </a:ext>
            </a:extLst>
          </p:cNvPr>
          <p:cNvSpPr/>
          <p:nvPr userDrawn="1"/>
        </p:nvSpPr>
        <p:spPr bwMode="white">
          <a:xfrm>
            <a:off x="6096000" y="0"/>
            <a:ext cx="6096000" cy="6857999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PT" sz="1600" dirty="0">
              <a:solidFill>
                <a:schemeClr val="tx1"/>
              </a:solidFill>
            </a:endParaRPr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E753F8DB-9E85-600E-CE65-6F0B5FAE55C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5880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4" name="Title plus Content">
            <a:extLst>
              <a:ext uri="{FF2B5EF4-FFF2-40B4-BE49-F238E27FC236}">
                <a16:creationId xmlns:a16="http://schemas.microsoft.com/office/drawing/2014/main" id="{862DF7A4-F6DA-E5F4-FDC2-DC9F260060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94274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92343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p15="http://schemas.microsoft.com/office/powerpoint/2012/main" xmlns:asvg="http://schemas.microsoft.com/office/drawing/2016/SVG/main" xmlns:a14="http://schemas.microsoft.com/office/drawing/2010/main" xmlns:a16="http://schemas.microsoft.com/office/drawing/2014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35" userDrawn="1">
          <p15:clr>
            <a:srgbClr val="FBAE40"/>
          </p15:clr>
        </p15:guide>
        <p15:guide id="6" pos="3522" userDrawn="1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ock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ght Blue Background Box">
            <a:extLst>
              <a:ext uri="{FF2B5EF4-FFF2-40B4-BE49-F238E27FC236}">
                <a16:creationId xmlns:a16="http://schemas.microsoft.com/office/drawing/2014/main" id="{62DAFB2D-A6FA-E0E3-2171-2DD3336F39B2}"/>
              </a:ext>
            </a:extLst>
          </p:cNvPr>
          <p:cNvSpPr/>
          <p:nvPr/>
        </p:nvSpPr>
        <p:spPr bwMode="white">
          <a:xfrm>
            <a:off x="0" y="-1"/>
            <a:ext cx="6096000" cy="6857999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PT" sz="1600" dirty="0">
              <a:solidFill>
                <a:schemeClr val="tx1"/>
              </a:solidFill>
            </a:endParaRPr>
          </a:p>
        </p:txBody>
      </p:sp>
      <p:sp>
        <p:nvSpPr>
          <p:cNvPr id="9" name="Content">
            <a:extLst>
              <a:ext uri="{FF2B5EF4-FFF2-40B4-BE49-F238E27FC236}">
                <a16:creationId xmlns:a16="http://schemas.microsoft.com/office/drawing/2014/main" id="{D4D98A6F-CCDA-3034-9A95-2A26056495A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508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Title plus Content">
            <a:extLst>
              <a:ext uri="{FF2B5EF4-FFF2-40B4-BE49-F238E27FC236}">
                <a16:creationId xmlns:a16="http://schemas.microsoft.com/office/drawing/2014/main" id="{F7F8A338-A00D-2699-2172-8897CB3F038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2967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3922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p15="http://schemas.microsoft.com/office/powerpoint/2012/main" xmlns:asvg="http://schemas.microsoft.com/office/drawing/2016/SVG/main" xmlns:a14="http://schemas.microsoft.com/office/drawing/2010/main" xmlns:a16="http://schemas.microsoft.com/office/drawing/2014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 userDrawn="1">
          <p15:clr>
            <a:srgbClr val="FBAE40"/>
          </p15:clr>
        </p15:guide>
        <p15:guide id="6" pos="3522" userDrawn="1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Block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ght Blue Background Box">
            <a:extLst>
              <a:ext uri="{FF2B5EF4-FFF2-40B4-BE49-F238E27FC236}">
                <a16:creationId xmlns:a16="http://schemas.microsoft.com/office/drawing/2014/main" id="{32688E28-A7F8-F719-86CF-44D80A540EE8}"/>
              </a:ext>
            </a:extLst>
          </p:cNvPr>
          <p:cNvSpPr/>
          <p:nvPr/>
        </p:nvSpPr>
        <p:spPr bwMode="white">
          <a:xfrm>
            <a:off x="6096000" y="0"/>
            <a:ext cx="6096000" cy="6857998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PT" sz="1600" dirty="0">
              <a:solidFill>
                <a:schemeClr val="tx1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5B97292-EA86-FEC6-A22B-B5948F7131E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6000" y="0"/>
            <a:ext cx="6096000" cy="6857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Title plus Content">
            <a:extLst>
              <a:ext uri="{FF2B5EF4-FFF2-40B4-BE49-F238E27FC236}">
                <a16:creationId xmlns:a16="http://schemas.microsoft.com/office/drawing/2014/main" id="{AB6C8F20-9432-0223-5EEF-ECC8F9BD8F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94274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5327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 userDrawn="1">
          <p15:clr>
            <a:srgbClr val="FBAE40"/>
          </p15:clr>
        </p15:guide>
        <p15:guide id="6" pos="3522" userDrawn="1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ock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ght BLue Background Box">
            <a:extLst>
              <a:ext uri="{FF2B5EF4-FFF2-40B4-BE49-F238E27FC236}">
                <a16:creationId xmlns:a16="http://schemas.microsoft.com/office/drawing/2014/main" id="{62DAFB2D-A6FA-E0E3-2171-2DD3336F39B2}"/>
              </a:ext>
            </a:extLst>
          </p:cNvPr>
          <p:cNvSpPr/>
          <p:nvPr userDrawn="1"/>
        </p:nvSpPr>
        <p:spPr bwMode="white">
          <a:xfrm>
            <a:off x="0" y="-1"/>
            <a:ext cx="6096000" cy="6857998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PT" sz="1600" dirty="0">
              <a:solidFill>
                <a:schemeClr val="tx1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9D1692-EEFD-88EA-AC78-9DA3A4D838A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6096000" cy="6857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Title plus Content">
            <a:extLst>
              <a:ext uri="{FF2B5EF4-FFF2-40B4-BE49-F238E27FC236}">
                <a16:creationId xmlns:a16="http://schemas.microsoft.com/office/drawing/2014/main" id="{C3FF2256-8276-CD87-E590-0FA57F8D987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2967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34891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 userDrawn="1">
          <p15:clr>
            <a:srgbClr val="FBAE40"/>
          </p15:clr>
        </p15:guide>
        <p15:guide id="6" pos="3522" userDrawn="1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lock, Centr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4884C31-EC1F-A70F-FF1B-C8B8710346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Content">
            <a:extLst>
              <a:ext uri="{FF2B5EF4-FFF2-40B4-BE49-F238E27FC236}">
                <a16:creationId xmlns:a16="http://schemas.microsoft.com/office/drawing/2014/main" id="{3D200662-34CE-CF6E-6DAA-5C1324553BB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508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itle plus Content">
            <a:extLst>
              <a:ext uri="{FF2B5EF4-FFF2-40B4-BE49-F238E27FC236}">
                <a16:creationId xmlns:a16="http://schemas.microsoft.com/office/drawing/2014/main" id="{233A3AAD-F3AF-F8C3-E336-494A20B9CF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29678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>
                <a:solidFill>
                  <a:schemeClr val="tx1"/>
                </a:solidFill>
              </a:defRPr>
            </a:lvl4pPr>
            <a:lvl5pPr marL="252000" indent="-252000">
              <a:spcBef>
                <a:spcPts val="12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800" b="0">
                <a:solidFill>
                  <a:schemeClr val="bg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8pPr>
            <a:lvl9pPr>
              <a:defRPr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17294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 userDrawn="1">
          <p15:clr>
            <a:srgbClr val="FBAE40"/>
          </p15:clr>
        </p15:guide>
        <p15:guide id="6" pos="3522" userDrawn="1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lock, Centr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4884C31-EC1F-A70F-FF1B-C8B8710346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Content">
            <a:extLst>
              <a:ext uri="{FF2B5EF4-FFF2-40B4-BE49-F238E27FC236}">
                <a16:creationId xmlns:a16="http://schemas.microsoft.com/office/drawing/2014/main" id="{87DC4C0B-4914-F9BB-BD66-CA2329654CB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5880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430A964F-5F10-6427-5339-C3BF17997CB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0" y="2429678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>
                <a:solidFill>
                  <a:schemeClr val="tx1"/>
                </a:solidFill>
              </a:defRPr>
            </a:lvl4pPr>
            <a:lvl5pPr marL="252000" indent="-252000">
              <a:spcBef>
                <a:spcPts val="12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800" b="0">
                <a:solidFill>
                  <a:schemeClr val="bg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8pPr>
            <a:lvl9pPr>
              <a:defRPr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5007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 userDrawn="1">
          <p15:clr>
            <a:srgbClr val="FBAE40"/>
          </p15:clr>
        </p15:guide>
        <p15:guide id="6" pos="3522" userDrawn="1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Title and Content with Swoo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quiggle">
            <a:extLst>
              <a:ext uri="{FF2B5EF4-FFF2-40B4-BE49-F238E27FC236}">
                <a16:creationId xmlns:a16="http://schemas.microsoft.com/office/drawing/2014/main" id="{00171972-DAD9-4461-D642-9E70587F1676}"/>
              </a:ext>
            </a:extLst>
          </p:cNvPr>
          <p:cNvSpPr/>
          <p:nvPr/>
        </p:nvSpPr>
        <p:spPr>
          <a:xfrm rot="440875">
            <a:off x="-195795" y="260446"/>
            <a:ext cx="12711259" cy="7374027"/>
          </a:xfrm>
          <a:custGeom>
            <a:avLst/>
            <a:gdLst>
              <a:gd name="connsiteX0" fmla="*/ 9701292 w 12711259"/>
              <a:gd name="connsiteY0" fmla="*/ 4999293 h 7374027"/>
              <a:gd name="connsiteX1" fmla="*/ 10349337 w 12711259"/>
              <a:gd name="connsiteY1" fmla="*/ 5865741 h 7374027"/>
              <a:gd name="connsiteX2" fmla="*/ 10354937 w 12711259"/>
              <a:gd name="connsiteY2" fmla="*/ 6113237 h 7374027"/>
              <a:gd name="connsiteX3" fmla="*/ 7871504 w 12711259"/>
              <a:gd name="connsiteY3" fmla="*/ 6434879 h 7374027"/>
              <a:gd name="connsiteX4" fmla="*/ 8130301 w 12711259"/>
              <a:gd name="connsiteY4" fmla="*/ 6165073 h 7374027"/>
              <a:gd name="connsiteX5" fmla="*/ 8586391 w 12711259"/>
              <a:gd name="connsiteY5" fmla="*/ 5725947 h 7374027"/>
              <a:gd name="connsiteX6" fmla="*/ 8542688 w 12711259"/>
              <a:gd name="connsiteY6" fmla="*/ 5767387 h 7374027"/>
              <a:gd name="connsiteX7" fmla="*/ 9701292 w 12711259"/>
              <a:gd name="connsiteY7" fmla="*/ 4999293 h 7374027"/>
              <a:gd name="connsiteX8" fmla="*/ 12556234 w 12711259"/>
              <a:gd name="connsiteY8" fmla="*/ 4605882 h 7374027"/>
              <a:gd name="connsiteX9" fmla="*/ 12711259 w 12711259"/>
              <a:gd name="connsiteY9" fmla="*/ 5808059 h 7374027"/>
              <a:gd name="connsiteX10" fmla="*/ 10948599 w 12711259"/>
              <a:gd name="connsiteY10" fmla="*/ 6036348 h 7374027"/>
              <a:gd name="connsiteX11" fmla="*/ 10995446 w 12711259"/>
              <a:gd name="connsiteY11" fmla="*/ 5971853 h 7374027"/>
              <a:gd name="connsiteX12" fmla="*/ 12509398 w 12711259"/>
              <a:gd name="connsiteY12" fmla="*/ 4619614 h 7374027"/>
              <a:gd name="connsiteX13" fmla="*/ 4089853 w 12711259"/>
              <a:gd name="connsiteY13" fmla="*/ 0 h 7374027"/>
              <a:gd name="connsiteX14" fmla="*/ 4032572 w 12711259"/>
              <a:gd name="connsiteY14" fmla="*/ 208780 h 7374027"/>
              <a:gd name="connsiteX15" fmla="*/ 3110385 w 12711259"/>
              <a:gd name="connsiteY15" fmla="*/ 5050887 h 7374027"/>
              <a:gd name="connsiteX16" fmla="*/ 5214964 w 12711259"/>
              <a:gd name="connsiteY16" fmla="*/ 6484237 h 7374027"/>
              <a:gd name="connsiteX17" fmla="*/ 5130975 w 12711259"/>
              <a:gd name="connsiteY17" fmla="*/ 6789819 h 7374027"/>
              <a:gd name="connsiteX18" fmla="*/ 620243 w 12711259"/>
              <a:gd name="connsiteY18" fmla="*/ 7374027 h 7374027"/>
              <a:gd name="connsiteX19" fmla="*/ 595618 w 12711259"/>
              <a:gd name="connsiteY19" fmla="*/ 7183063 h 7374027"/>
              <a:gd name="connsiteX20" fmla="*/ 643367 w 12711259"/>
              <a:gd name="connsiteY20" fmla="*/ 6815536 h 7374027"/>
              <a:gd name="connsiteX21" fmla="*/ 1874812 w 12711259"/>
              <a:gd name="connsiteY21" fmla="*/ 1239581 h 7374027"/>
              <a:gd name="connsiteX22" fmla="*/ 592446 w 12711259"/>
              <a:gd name="connsiteY22" fmla="*/ 3773236 h 7374027"/>
              <a:gd name="connsiteX23" fmla="*/ 252389 w 12711259"/>
              <a:gd name="connsiteY23" fmla="*/ 4521405 h 7374027"/>
              <a:gd name="connsiteX24" fmla="*/ 0 w 12711259"/>
              <a:gd name="connsiteY24" fmla="*/ 2564185 h 7374027"/>
              <a:gd name="connsiteX25" fmla="*/ 286966 w 12711259"/>
              <a:gd name="connsiteY25" fmla="*/ 2061285 h 7374027"/>
              <a:gd name="connsiteX26" fmla="*/ 1294415 w 12711259"/>
              <a:gd name="connsiteY26" fmla="*/ 424798 h 7374027"/>
              <a:gd name="connsiteX27" fmla="*/ 1340058 w 12711259"/>
              <a:gd name="connsiteY27" fmla="*/ 356138 h 7374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711259" h="7374027">
                <a:moveTo>
                  <a:pt x="9701292" y="4999293"/>
                </a:moveTo>
                <a:cubicBezTo>
                  <a:pt x="10102115" y="4956977"/>
                  <a:pt x="10311719" y="5310803"/>
                  <a:pt x="10349337" y="5865741"/>
                </a:cubicBezTo>
                <a:lnTo>
                  <a:pt x="10354937" y="6113237"/>
                </a:lnTo>
                <a:lnTo>
                  <a:pt x="7871504" y="6434879"/>
                </a:lnTo>
                <a:lnTo>
                  <a:pt x="8130301" y="6165073"/>
                </a:lnTo>
                <a:cubicBezTo>
                  <a:pt x="8279037" y="6015936"/>
                  <a:pt x="8431002" y="5869496"/>
                  <a:pt x="8586391" y="5725947"/>
                </a:cubicBezTo>
                <a:lnTo>
                  <a:pt x="8542688" y="5767387"/>
                </a:lnTo>
                <a:cubicBezTo>
                  <a:pt x="9031123" y="5261858"/>
                  <a:pt x="9414988" y="5029518"/>
                  <a:pt x="9701292" y="4999293"/>
                </a:cubicBezTo>
                <a:close/>
                <a:moveTo>
                  <a:pt x="12556234" y="4605882"/>
                </a:moveTo>
                <a:lnTo>
                  <a:pt x="12711259" y="5808059"/>
                </a:lnTo>
                <a:lnTo>
                  <a:pt x="10948599" y="6036348"/>
                </a:lnTo>
                <a:lnTo>
                  <a:pt x="10995446" y="5971853"/>
                </a:lnTo>
                <a:cubicBezTo>
                  <a:pt x="11423632" y="5393813"/>
                  <a:pt x="11894510" y="4843458"/>
                  <a:pt x="12509398" y="4619614"/>
                </a:cubicBezTo>
                <a:close/>
                <a:moveTo>
                  <a:pt x="4089853" y="0"/>
                </a:moveTo>
                <a:lnTo>
                  <a:pt x="4032572" y="208780"/>
                </a:lnTo>
                <a:cubicBezTo>
                  <a:pt x="3477322" y="2228129"/>
                  <a:pt x="2859788" y="4443395"/>
                  <a:pt x="3110385" y="5050887"/>
                </a:cubicBezTo>
                <a:cubicBezTo>
                  <a:pt x="6202762" y="1120562"/>
                  <a:pt x="6073909" y="3270086"/>
                  <a:pt x="5214964" y="6484237"/>
                </a:cubicBezTo>
                <a:lnTo>
                  <a:pt x="5130975" y="6789819"/>
                </a:lnTo>
                <a:lnTo>
                  <a:pt x="620243" y="7374027"/>
                </a:lnTo>
                <a:lnTo>
                  <a:pt x="595618" y="7183063"/>
                </a:lnTo>
                <a:lnTo>
                  <a:pt x="643367" y="6815536"/>
                </a:lnTo>
                <a:cubicBezTo>
                  <a:pt x="932082" y="4762876"/>
                  <a:pt x="1606054" y="2200633"/>
                  <a:pt x="1874812" y="1239581"/>
                </a:cubicBezTo>
                <a:cubicBezTo>
                  <a:pt x="1415408" y="2068758"/>
                  <a:pt x="993356" y="2915911"/>
                  <a:pt x="592446" y="3773236"/>
                </a:cubicBezTo>
                <a:lnTo>
                  <a:pt x="252389" y="4521405"/>
                </a:lnTo>
                <a:lnTo>
                  <a:pt x="0" y="2564185"/>
                </a:lnTo>
                <a:lnTo>
                  <a:pt x="286966" y="2061285"/>
                </a:lnTo>
                <a:cubicBezTo>
                  <a:pt x="616643" y="1494520"/>
                  <a:pt x="955203" y="944905"/>
                  <a:pt x="1294415" y="424798"/>
                </a:cubicBezTo>
                <a:lnTo>
                  <a:pt x="1340058" y="356138"/>
                </a:ln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117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3" name="Page Number">
            <a:extLst>
              <a:ext uri="{FF2B5EF4-FFF2-40B4-BE49-F238E27FC236}">
                <a16:creationId xmlns:a16="http://schemas.microsoft.com/office/drawing/2014/main" id="{34F5AC4A-6FD4-AE1B-DE83-4DA75E86F5DC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Content">
            <a:extLst>
              <a:ext uri="{FF2B5EF4-FFF2-40B4-BE49-F238E27FC236}">
                <a16:creationId xmlns:a16="http://schemas.microsoft.com/office/drawing/2014/main" id="{81404B19-3C29-F557-1857-9D5B937FCD7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5880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itle plus Content">
            <a:extLst>
              <a:ext uri="{FF2B5EF4-FFF2-40B4-BE49-F238E27FC236}">
                <a16:creationId xmlns:a16="http://schemas.microsoft.com/office/drawing/2014/main" id="{45EBC170-48B0-4CF4-F8CC-B91B703AAB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70665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25501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a16="http://schemas.microsoft.com/office/drawing/2014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0" pos="4158" userDrawn="1">
          <p15:clr>
            <a:srgbClr val="FBAE40"/>
          </p15:clr>
        </p15:guide>
        <p15:guide id="11" pos="3522" userDrawn="1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Right 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us Content">
            <a:extLst>
              <a:ext uri="{FF2B5EF4-FFF2-40B4-BE49-F238E27FC236}">
                <a16:creationId xmlns:a16="http://schemas.microsoft.com/office/drawing/2014/main" id="{61C9325A-143B-C086-CC26-A49B2A34A1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70665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ounded box shadow 15.4cm">
            <a:extLst>
              <a:ext uri="{FF2B5EF4-FFF2-40B4-BE49-F238E27FC236}">
                <a16:creationId xmlns:a16="http://schemas.microsoft.com/office/drawing/2014/main" id="{F9324273-5E02-E384-973C-BEB9B03CD9EB}"/>
              </a:ext>
            </a:extLst>
          </p:cNvPr>
          <p:cNvSpPr>
            <a:spLocks/>
          </p:cNvSpPr>
          <p:nvPr userDrawn="1"/>
        </p:nvSpPr>
        <p:spPr>
          <a:xfrm>
            <a:off x="6096000" y="1701000"/>
            <a:ext cx="5544000" cy="3456000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2762336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352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">
            <a:extLst>
              <a:ext uri="{FF2B5EF4-FFF2-40B4-BE49-F238E27FC236}">
                <a16:creationId xmlns:a16="http://schemas.microsoft.com/office/drawing/2014/main" id="{295C4B23-21F2-2145-95FE-3AB8A616154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66001" y="1700808"/>
            <a:ext cx="5274000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C1BC992A-302B-241D-8898-D33B51BF79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52000" y="1700808"/>
            <a:ext cx="5274000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B581B0-C9DC-746F-44A6-3536C5D57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" name="Subhead">
            <a:extLst>
              <a:ext uri="{FF2B5EF4-FFF2-40B4-BE49-F238E27FC236}">
                <a16:creationId xmlns:a16="http://schemas.microsoft.com/office/drawing/2014/main" id="{A2B96E86-1CA0-A5C9-1706-E774568A41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2000" y="956760"/>
            <a:ext cx="11088001" cy="31200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GB" sz="2000" b="0" i="0" spc="0">
                <a:solidFill>
                  <a:schemeClr val="accent2"/>
                </a:solidFill>
                <a:ea typeface="+mj-ea"/>
                <a:cs typeface="+mj-cs"/>
              </a:defRPr>
            </a:lvl1pPr>
            <a:lvl2pPr marL="0" indent="0">
              <a:buNone/>
              <a:defRPr lang="en-GB"/>
            </a:lvl2pPr>
            <a:lvl3pPr>
              <a:defRPr lang="en-GB"/>
            </a:lvl3pPr>
            <a:lvl4pPr>
              <a:defRPr lang="en-GB" sz="1200"/>
            </a:lvl4pPr>
            <a:lvl5pPr>
              <a:defRPr lang="en-US" sz="1400">
                <a:solidFill>
                  <a:schemeClr val="tx1"/>
                </a:solidFill>
                <a:latin typeface="+mn-lt"/>
              </a:defRPr>
            </a:lvl5pPr>
          </a:lstStyle>
          <a:p>
            <a:pPr lvl="0" defTabSz="972000">
              <a:spcBef>
                <a:spcPct val="0"/>
              </a:spcBef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489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009">
          <p15:clr>
            <a:srgbClr val="FBAE40"/>
          </p15:clr>
        </p15:guide>
        <p15:guide id="2" pos="3681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Left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box shadow 15.4cm">
            <a:extLst>
              <a:ext uri="{FF2B5EF4-FFF2-40B4-BE49-F238E27FC236}">
                <a16:creationId xmlns:a16="http://schemas.microsoft.com/office/drawing/2014/main" id="{71AA9E56-2169-4EE4-DECA-A5FE2400A7DC}"/>
              </a:ext>
            </a:extLst>
          </p:cNvPr>
          <p:cNvSpPr>
            <a:spLocks/>
          </p:cNvSpPr>
          <p:nvPr/>
        </p:nvSpPr>
        <p:spPr>
          <a:xfrm>
            <a:off x="550800" y="1701000"/>
            <a:ext cx="5545200" cy="3456000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4" name="Title plus Content">
            <a:extLst>
              <a:ext uri="{FF2B5EF4-FFF2-40B4-BE49-F238E27FC236}">
                <a16:creationId xmlns:a16="http://schemas.microsoft.com/office/drawing/2014/main" id="{9AB75B78-866E-BD40-6649-790407DDB03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0606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93048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 userDrawn="1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Left larg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box full half">
            <a:extLst>
              <a:ext uri="{FF2B5EF4-FFF2-40B4-BE49-F238E27FC236}">
                <a16:creationId xmlns:a16="http://schemas.microsoft.com/office/drawing/2014/main" id="{3A8205A9-953F-940D-2D52-F3823977D145}"/>
              </a:ext>
            </a:extLst>
          </p:cNvPr>
          <p:cNvSpPr>
            <a:spLocks/>
          </p:cNvSpPr>
          <p:nvPr userDrawn="1"/>
        </p:nvSpPr>
        <p:spPr>
          <a:xfrm>
            <a:off x="6096000" y="836613"/>
            <a:ext cx="5544000" cy="5184775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7" name="Title plus Content">
            <a:extLst>
              <a:ext uri="{FF2B5EF4-FFF2-40B4-BE49-F238E27FC236}">
                <a16:creationId xmlns:a16="http://schemas.microsoft.com/office/drawing/2014/main" id="{1D86D189-69EC-D31E-EC4F-AC1670290D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70665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19799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3522" userDrawn="1">
          <p15:clr>
            <a:srgbClr val="547EBF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Right larg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box full half">
            <a:extLst>
              <a:ext uri="{FF2B5EF4-FFF2-40B4-BE49-F238E27FC236}">
                <a16:creationId xmlns:a16="http://schemas.microsoft.com/office/drawing/2014/main" id="{CB90E03C-6C50-AE93-C5CE-D641F0B03CFE}"/>
              </a:ext>
            </a:extLst>
          </p:cNvPr>
          <p:cNvSpPr>
            <a:spLocks/>
          </p:cNvSpPr>
          <p:nvPr userDrawn="1"/>
        </p:nvSpPr>
        <p:spPr>
          <a:xfrm>
            <a:off x="550800" y="836613"/>
            <a:ext cx="5545200" cy="5184775"/>
          </a:xfrm>
          <a:prstGeom prst="roundRect">
            <a:avLst>
              <a:gd name="adj" fmla="val 5218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6" name="Title plus Content">
            <a:extLst>
              <a:ext uri="{FF2B5EF4-FFF2-40B4-BE49-F238E27FC236}">
                <a16:creationId xmlns:a16="http://schemas.microsoft.com/office/drawing/2014/main" id="{B6654FCF-9E23-F30B-D796-174B643B33B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0606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13879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4158" userDrawn="1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quiggle">
            <a:extLst>
              <a:ext uri="{FF2B5EF4-FFF2-40B4-BE49-F238E27FC236}">
                <a16:creationId xmlns:a16="http://schemas.microsoft.com/office/drawing/2014/main" id="{A28941CA-3513-CE83-4DDD-76D497F6DC3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325" t="40861" r="22020" b="40196"/>
          <a:stretch/>
        </p:blipFill>
        <p:spPr>
          <a:xfrm>
            <a:off x="-1" y="3207362"/>
            <a:ext cx="7754745" cy="3650638"/>
          </a:xfrm>
          <a:prstGeom prst="rect">
            <a:avLst/>
          </a:prstGeom>
        </p:spPr>
      </p:pic>
      <p:pic>
        <p:nvPicPr>
          <p:cNvPr id="2" name="Laptop">
            <a:extLst>
              <a:ext uri="{FF2B5EF4-FFF2-40B4-BE49-F238E27FC236}">
                <a16:creationId xmlns:a16="http://schemas.microsoft.com/office/drawing/2014/main" id="{673B24E1-9478-7908-545C-1867256DD12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2" t="21192" r="5748" b="22148"/>
          <a:stretch/>
        </p:blipFill>
        <p:spPr>
          <a:xfrm>
            <a:off x="203200" y="990600"/>
            <a:ext cx="7315199" cy="4682233"/>
          </a:xfrm>
          <a:prstGeom prst="rect">
            <a:avLst/>
          </a:prstGeom>
          <a:effectLst>
            <a:outerShdw blurRad="635000" dist="190500" dir="7200000" sx="105000" sy="105000" algn="tl" rotWithShape="0">
              <a:prstClr val="black">
                <a:alpha val="20000"/>
              </a:prstClr>
            </a:outerShdw>
          </a:effectLst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2A86130-EA91-646F-768A-204D64E295D0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1106493" y="1600200"/>
            <a:ext cx="5497507" cy="34544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plus Content">
            <a:extLst>
              <a:ext uri="{FF2B5EF4-FFF2-40B4-BE49-F238E27FC236}">
                <a16:creationId xmlns:a16="http://schemas.microsoft.com/office/drawing/2014/main" id="{EB91291E-44FC-3004-CDB6-BCAC208DA4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85601" y="2052117"/>
            <a:ext cx="3454400" cy="2753767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None/>
              <a:defRPr lang="en-GB" sz="4600" b="1" kern="1200" dirty="0">
                <a:solidFill>
                  <a:schemeClr val="tx2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defRPr>
            </a:lvl1pPr>
            <a:lvl2pPr marL="0" indent="0" algn="l" defTabSz="1219170" rtl="0" eaLnBrk="1" fontAlgn="base" latinLnBrk="0" hangingPunct="1">
              <a:lnSpc>
                <a:spcPct val="13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Segoe UI Semilight" panose="020B0502040204020203" pitchFamily="34" charset="0"/>
                <a:ea typeface="+mn-ea"/>
                <a:cs typeface="Segoe UI Semilight" panose="020B0502040204020203" pitchFamily="34" charset="0"/>
              </a:defRPr>
            </a:lvl2pPr>
            <a:lvl3pPr marL="0" indent="0">
              <a:spcBef>
                <a:spcPts val="1200"/>
              </a:spcBef>
              <a:buClrTx/>
              <a:buFontTx/>
              <a:buNone/>
              <a:defRPr>
                <a:solidFill>
                  <a:schemeClr val="tx1"/>
                </a:solidFill>
              </a:defRPr>
            </a:lvl3pPr>
            <a:lvl4pPr marL="252000" indent="-252000">
              <a:spcBef>
                <a:spcPts val="1200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4pPr>
            <a:lvl5pPr marL="537750" indent="-285750">
              <a:spcBef>
                <a:spcPts val="0"/>
              </a:spcBef>
              <a:buFont typeface="Symbol" panose="05050102010706020507" pitchFamily="18" charset="2"/>
              <a:buChar char=""/>
              <a:defRPr sz="1800" b="0" baseline="0"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 marL="0" indent="0">
              <a:buFontTx/>
              <a:buNone/>
              <a:defRPr sz="2000">
                <a:solidFill>
                  <a:schemeClr val="accent2"/>
                </a:solidFill>
              </a:defRPr>
            </a:lvl7pPr>
            <a:lvl8pPr marL="0" indent="0"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41131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re Va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E4CD333-4BF8-EA4E-B7BF-D6560BAAA0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4906910" cy="6858000"/>
          </a:xfrm>
          <a:custGeom>
            <a:avLst/>
            <a:gdLst>
              <a:gd name="connsiteX0" fmla="*/ 0 w 9811264"/>
              <a:gd name="connsiteY0" fmla="*/ 0 h 13715999"/>
              <a:gd name="connsiteX1" fmla="*/ 5851617 w 9811264"/>
              <a:gd name="connsiteY1" fmla="*/ 0 h 13715999"/>
              <a:gd name="connsiteX2" fmla="*/ 5997745 w 9811264"/>
              <a:gd name="connsiteY2" fmla="*/ 84022 h 13715999"/>
              <a:gd name="connsiteX3" fmla="*/ 9811264 w 9811264"/>
              <a:gd name="connsiteY3" fmla="*/ 6857999 h 13715999"/>
              <a:gd name="connsiteX4" fmla="*/ 5997745 w 9811264"/>
              <a:gd name="connsiteY4" fmla="*/ 13631976 h 13715999"/>
              <a:gd name="connsiteX5" fmla="*/ 5851615 w 9811264"/>
              <a:gd name="connsiteY5" fmla="*/ 13715999 h 13715999"/>
              <a:gd name="connsiteX6" fmla="*/ 0 w 9811264"/>
              <a:gd name="connsiteY6" fmla="*/ 13715999 h 13715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11264" h="13715999">
                <a:moveTo>
                  <a:pt x="0" y="0"/>
                </a:moveTo>
                <a:lnTo>
                  <a:pt x="5851617" y="0"/>
                </a:lnTo>
                <a:lnTo>
                  <a:pt x="5997745" y="84022"/>
                </a:lnTo>
                <a:cubicBezTo>
                  <a:pt x="8284039" y="1473208"/>
                  <a:pt x="9811264" y="3987253"/>
                  <a:pt x="9811264" y="6857999"/>
                </a:cubicBezTo>
                <a:cubicBezTo>
                  <a:pt x="9811264" y="9728746"/>
                  <a:pt x="8284039" y="12242790"/>
                  <a:pt x="5997745" y="13631976"/>
                </a:cubicBezTo>
                <a:lnTo>
                  <a:pt x="5851615" y="13715999"/>
                </a:lnTo>
                <a:lnTo>
                  <a:pt x="0" y="13715999"/>
                </a:lnTo>
                <a:close/>
              </a:path>
            </a:pathLst>
          </a:custGeom>
          <a:solidFill>
            <a:srgbClr val="EDFCFF"/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Segoe UI Semilight" panose="020B0402040204020203" pitchFamily="34" charset="0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Plus Content">
            <a:extLst>
              <a:ext uri="{FF2B5EF4-FFF2-40B4-BE49-F238E27FC236}">
                <a16:creationId xmlns:a16="http://schemas.microsoft.com/office/drawing/2014/main" id="{C6FD7E38-F2D4-D0B2-674F-A73B7A0E4C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6000" y="1691826"/>
            <a:ext cx="5543749" cy="3474349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233388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8245A0CA-77D2-4622-AB84-A5AD64AEB2B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269000"/>
            <a:ext cx="6096000" cy="4320000"/>
          </a:xfrm>
          <a:prstGeom prst="rect">
            <a:avLst/>
          </a:prstGeom>
          <a:solidFill>
            <a:srgbClr val="EDFCFF"/>
          </a:solidFill>
        </p:spPr>
        <p:txBody>
          <a:bodyPr bIns="756000" anchor="ctr"/>
          <a:lstStyle>
            <a:lvl1pPr marL="0" indent="0" algn="ctr"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5" name="Title plus Content">
            <a:extLst>
              <a:ext uri="{FF2B5EF4-FFF2-40B4-BE49-F238E27FC236}">
                <a16:creationId xmlns:a16="http://schemas.microsoft.com/office/drawing/2014/main" id="{8CE17E58-CC43-8409-A36C-95B50D3FE3E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70665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85183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522" userDrawn="1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e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20266506-7111-89EA-5EFD-A5D40B6D11F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845218"/>
            <a:ext cx="8639999" cy="1167564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8800">
                <a:solidFill>
                  <a:schemeClr val="tx2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4pPr>
            <a:lvl5pPr marL="0" indent="0" algn="ctr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4"/>
                </a:solidFill>
                <a:latin typeface="+mj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3"/>
                </a:solidFill>
                <a:latin typeface="+mj-lt"/>
              </a:defRPr>
            </a:lvl8pPr>
            <a:lvl9pPr algn="ctr">
              <a:defRPr sz="4600" b="1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GB" dirty="0"/>
              <a:t>Text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7023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 userDrawn="1">
          <p15:clr>
            <a:srgbClr val="FBAE40"/>
          </p15:clr>
        </p15:guide>
        <p15:guide id="6" pos="3522" userDrawn="1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e Titl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us Content">
            <a:extLst>
              <a:ext uri="{FF2B5EF4-FFF2-40B4-BE49-F238E27FC236}">
                <a16:creationId xmlns:a16="http://schemas.microsoft.com/office/drawing/2014/main" id="{C5A556B7-0791-621C-816F-9C7E53970E7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845218"/>
            <a:ext cx="8639999" cy="1167564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46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88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4pPr>
            <a:lvl5pPr marL="0" indent="0" algn="ctr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n-lt"/>
              </a:defRPr>
            </a:lvl8pPr>
            <a:lvl9pPr algn="ctr">
              <a:defRPr/>
            </a:lvl9pPr>
          </a:lstStyle>
          <a:p>
            <a:pPr lvl="0"/>
            <a:r>
              <a:rPr lang="en-GB" dirty="0"/>
              <a:t>Text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5286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 userDrawn="1">
          <p15:clr>
            <a:srgbClr val="FBAE40"/>
          </p15:clr>
        </p15:guide>
        <p15:guide id="6" pos="3522" userDrawn="1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e 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4884C31-EC1F-A70F-FF1B-C8B8710346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plus Content">
            <a:extLst>
              <a:ext uri="{FF2B5EF4-FFF2-40B4-BE49-F238E27FC236}">
                <a16:creationId xmlns:a16="http://schemas.microsoft.com/office/drawing/2014/main" id="{77BF0EF0-91A4-5D2D-3D5C-50AC189ACD6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845218"/>
            <a:ext cx="8639999" cy="1167564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460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880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4pPr>
            <a:lvl5pPr marL="0" indent="0" algn="ctr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1"/>
                </a:solidFill>
                <a:latin typeface="+mj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3"/>
                </a:solidFill>
                <a:latin typeface="+mj-lt"/>
              </a:defRPr>
            </a:lvl8pPr>
            <a:lvl9pPr algn="ctr">
              <a:defRPr sz="4600" b="1">
                <a:solidFill>
                  <a:schemeClr val="accent4"/>
                </a:solidFill>
                <a:latin typeface="+mj-lt"/>
              </a:defRPr>
            </a:lvl9pPr>
          </a:lstStyle>
          <a:p>
            <a:pPr lvl="0"/>
            <a:r>
              <a:rPr lang="en-GB" dirty="0"/>
              <a:t>Text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901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 userDrawn="1">
          <p15:clr>
            <a:srgbClr val="FBAE40"/>
          </p15:clr>
        </p15:guide>
        <p15:guide id="6" pos="3522" userDrawn="1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&#10;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8B88125F-4DBA-4A5C-98A5-541E3DF3AB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 vert="horz" wrap="square" lIns="0" tIns="0" rIns="0" bIns="756000" rtlCol="0" anchor="ctr">
            <a:noAutofit/>
          </a:bodyPr>
          <a:lstStyle>
            <a:lvl1pPr>
              <a:defRPr lang="en-US"/>
            </a:lvl1pPr>
          </a:lstStyle>
          <a:p>
            <a:pPr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age Number">
            <a:extLst>
              <a:ext uri="{FF2B5EF4-FFF2-40B4-BE49-F238E27FC236}">
                <a16:creationId xmlns:a16="http://schemas.microsoft.com/office/drawing/2014/main" id="{0EAB5203-EB9A-897F-4EF6-58F6F2BD253A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BD4269F-8B15-0029-4910-00DF98A376D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" y="3428999"/>
            <a:ext cx="4470400" cy="3428999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chemeClr val="bg1"/>
          </a:solidFill>
        </p:spPr>
        <p:txBody>
          <a:bodyPr vert="horz" wrap="square" lIns="609600" tIns="203200" rIns="203200" bIns="203200" rtlCol="0" anchor="t" anchorCtr="0">
            <a:noAutofit/>
          </a:bodyPr>
          <a:lstStyle>
            <a:lvl1pPr algn="l">
              <a:lnSpc>
                <a:spcPct val="110000"/>
              </a:lnSpc>
              <a:defRPr lang="de-DE" sz="4600" b="1" i="0" spc="0" baseline="0" dirty="0">
                <a:solidFill>
                  <a:schemeClr val="tx2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536319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a16="http://schemas.microsoft.com/office/drawing/2014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ith Swoosh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quiggle">
            <a:extLst>
              <a:ext uri="{FF2B5EF4-FFF2-40B4-BE49-F238E27FC236}">
                <a16:creationId xmlns:a16="http://schemas.microsoft.com/office/drawing/2014/main" id="{F1E92234-4982-3E11-5373-29201E90D1F3}"/>
              </a:ext>
            </a:extLst>
          </p:cNvPr>
          <p:cNvSpPr/>
          <p:nvPr/>
        </p:nvSpPr>
        <p:spPr>
          <a:xfrm rot="440875">
            <a:off x="-180921" y="265105"/>
            <a:ext cx="12690000" cy="7380000"/>
          </a:xfrm>
          <a:custGeom>
            <a:avLst/>
            <a:gdLst>
              <a:gd name="connsiteX0" fmla="*/ 9663071 w 12695865"/>
              <a:gd name="connsiteY0" fmla="*/ 4936695 h 7287592"/>
              <a:gd name="connsiteX1" fmla="*/ 10305791 w 12695865"/>
              <a:gd name="connsiteY1" fmla="*/ 5792294 h 7287592"/>
              <a:gd name="connsiteX2" fmla="*/ 10311345 w 12695865"/>
              <a:gd name="connsiteY2" fmla="*/ 6036691 h 7287592"/>
              <a:gd name="connsiteX3" fmla="*/ 7848321 w 12695865"/>
              <a:gd name="connsiteY3" fmla="*/ 6354305 h 7287592"/>
              <a:gd name="connsiteX4" fmla="*/ 8104991 w 12695865"/>
              <a:gd name="connsiteY4" fmla="*/ 6087878 h 7287592"/>
              <a:gd name="connsiteX5" fmla="*/ 8557333 w 12695865"/>
              <a:gd name="connsiteY5" fmla="*/ 5654250 h 7287592"/>
              <a:gd name="connsiteX6" fmla="*/ 8513989 w 12695865"/>
              <a:gd name="connsiteY6" fmla="*/ 5695171 h 7287592"/>
              <a:gd name="connsiteX7" fmla="*/ 9663071 w 12695865"/>
              <a:gd name="connsiteY7" fmla="*/ 4936695 h 7287592"/>
              <a:gd name="connsiteX8" fmla="*/ 12541795 w 12695865"/>
              <a:gd name="connsiteY8" fmla="*/ 4534420 h 7287592"/>
              <a:gd name="connsiteX9" fmla="*/ 12695865 w 12695865"/>
              <a:gd name="connsiteY9" fmla="*/ 5729200 h 7287592"/>
              <a:gd name="connsiteX10" fmla="*/ 10900128 w 12695865"/>
              <a:gd name="connsiteY10" fmla="*/ 5960765 h 7287592"/>
              <a:gd name="connsiteX11" fmla="*/ 10946590 w 12695865"/>
              <a:gd name="connsiteY11" fmla="*/ 5897077 h 7287592"/>
              <a:gd name="connsiteX12" fmla="*/ 12448100 w 12695865"/>
              <a:gd name="connsiteY12" fmla="*/ 4561770 h 7287592"/>
              <a:gd name="connsiteX13" fmla="*/ 1370551 w 12695865"/>
              <a:gd name="connsiteY13" fmla="*/ 351679 h 7287592"/>
              <a:gd name="connsiteX14" fmla="*/ 4097748 w 12695865"/>
              <a:gd name="connsiteY14" fmla="*/ 0 h 7287592"/>
              <a:gd name="connsiteX15" fmla="*/ 4040937 w 12695865"/>
              <a:gd name="connsiteY15" fmla="*/ 206166 h 7287592"/>
              <a:gd name="connsiteX16" fmla="*/ 3126329 w 12695865"/>
              <a:gd name="connsiteY16" fmla="*/ 4987643 h 7287592"/>
              <a:gd name="connsiteX17" fmla="*/ 5213612 w 12695865"/>
              <a:gd name="connsiteY17" fmla="*/ 6403045 h 7287592"/>
              <a:gd name="connsiteX18" fmla="*/ 5130314 w 12695865"/>
              <a:gd name="connsiteY18" fmla="*/ 6704801 h 7287592"/>
              <a:gd name="connsiteX19" fmla="*/ 610910 w 12695865"/>
              <a:gd name="connsiteY19" fmla="*/ 7287592 h 7287592"/>
              <a:gd name="connsiteX20" fmla="*/ 627644 w 12695865"/>
              <a:gd name="connsiteY20" fmla="*/ 7128260 h 7287592"/>
              <a:gd name="connsiteX21" fmla="*/ 1900910 w 12695865"/>
              <a:gd name="connsiteY21" fmla="*/ 1224060 h 7287592"/>
              <a:gd name="connsiteX22" fmla="*/ 629083 w 12695865"/>
              <a:gd name="connsiteY22" fmla="*/ 3725990 h 7287592"/>
              <a:gd name="connsiteX23" fmla="*/ 251309 w 12695865"/>
              <a:gd name="connsiteY23" fmla="*/ 4553535 h 7287592"/>
              <a:gd name="connsiteX24" fmla="*/ 0 w 12695865"/>
              <a:gd name="connsiteY24" fmla="*/ 2604695 h 7287592"/>
              <a:gd name="connsiteX25" fmla="*/ 2386 w 12695865"/>
              <a:gd name="connsiteY25" fmla="*/ 2600336 h 7287592"/>
              <a:gd name="connsiteX26" fmla="*/ 1325283 w 12695865"/>
              <a:gd name="connsiteY26" fmla="*/ 419479 h 728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695865" h="7287592">
                <a:moveTo>
                  <a:pt x="9663071" y="4936695"/>
                </a:moveTo>
                <a:cubicBezTo>
                  <a:pt x="10060600" y="4894909"/>
                  <a:pt x="10268482" y="5244305"/>
                  <a:pt x="10305791" y="5792294"/>
                </a:cubicBezTo>
                <a:lnTo>
                  <a:pt x="10311345" y="6036691"/>
                </a:lnTo>
                <a:lnTo>
                  <a:pt x="7848321" y="6354305"/>
                </a:lnTo>
                <a:lnTo>
                  <a:pt x="8104991" y="6087878"/>
                </a:lnTo>
                <a:cubicBezTo>
                  <a:pt x="8252505" y="5940608"/>
                  <a:pt x="8403221" y="5796001"/>
                  <a:pt x="8557333" y="5654250"/>
                </a:cubicBezTo>
                <a:lnTo>
                  <a:pt x="8513989" y="5695171"/>
                </a:lnTo>
                <a:cubicBezTo>
                  <a:pt x="8998410" y="5195972"/>
                  <a:pt x="9379120" y="4966542"/>
                  <a:pt x="9663071" y="4936695"/>
                </a:cubicBezTo>
                <a:close/>
                <a:moveTo>
                  <a:pt x="12541795" y="4534420"/>
                </a:moveTo>
                <a:lnTo>
                  <a:pt x="12695865" y="5729200"/>
                </a:lnTo>
                <a:lnTo>
                  <a:pt x="10900128" y="5960765"/>
                </a:lnTo>
                <a:lnTo>
                  <a:pt x="10946590" y="5897077"/>
                </a:lnTo>
                <a:cubicBezTo>
                  <a:pt x="11371257" y="5326275"/>
                  <a:pt x="11838265" y="4782811"/>
                  <a:pt x="12448100" y="4561770"/>
                </a:cubicBezTo>
                <a:close/>
                <a:moveTo>
                  <a:pt x="1370551" y="351679"/>
                </a:moveTo>
                <a:lnTo>
                  <a:pt x="4097748" y="0"/>
                </a:lnTo>
                <a:lnTo>
                  <a:pt x="4040937" y="206166"/>
                </a:lnTo>
                <a:cubicBezTo>
                  <a:pt x="3490251" y="2200230"/>
                  <a:pt x="2877792" y="4387758"/>
                  <a:pt x="3126329" y="4987643"/>
                </a:cubicBezTo>
                <a:cubicBezTo>
                  <a:pt x="6193293" y="1106531"/>
                  <a:pt x="6065499" y="3229140"/>
                  <a:pt x="5213612" y="6403045"/>
                </a:cubicBezTo>
                <a:lnTo>
                  <a:pt x="5130314" y="6704801"/>
                </a:lnTo>
                <a:lnTo>
                  <a:pt x="610910" y="7287592"/>
                </a:lnTo>
                <a:lnTo>
                  <a:pt x="627644" y="7128260"/>
                </a:lnTo>
                <a:cubicBezTo>
                  <a:pt x="875017" y="5047620"/>
                  <a:pt x="1616591" y="2236346"/>
                  <a:pt x="1900910" y="1224060"/>
                </a:cubicBezTo>
                <a:cubicBezTo>
                  <a:pt x="1445282" y="2042854"/>
                  <a:pt x="1026698" y="2879400"/>
                  <a:pt x="629083" y="3725990"/>
                </a:cubicBezTo>
                <a:lnTo>
                  <a:pt x="251309" y="4553535"/>
                </a:lnTo>
                <a:lnTo>
                  <a:pt x="0" y="2604695"/>
                </a:lnTo>
                <a:lnTo>
                  <a:pt x="2386" y="2600336"/>
                </a:lnTo>
                <a:cubicBezTo>
                  <a:pt x="429300" y="1840867"/>
                  <a:pt x="876718" y="1104271"/>
                  <a:pt x="1325283" y="419479"/>
                </a:cubicBez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117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8FC8295C-3D67-1A2A-D3FF-3587A0DDF7AD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9CC6FB-50A5-8E85-2352-EFD550F00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0690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_Specia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Special">
            <a:extLst>
              <a:ext uri="{FF2B5EF4-FFF2-40B4-BE49-F238E27FC236}">
                <a16:creationId xmlns:a16="http://schemas.microsoft.com/office/drawing/2014/main" id="{30915A37-2073-1835-1333-20479AFB9FCE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effectLst>
            <a:fillOverlay blend="mult">
              <a:gradFill flip="none" rotWithShape="1">
                <a:gsLst>
                  <a:gs pos="27000">
                    <a:srgbClr val="072853">
                      <a:alpha val="77655"/>
                    </a:srgbClr>
                  </a:gs>
                  <a:gs pos="100000">
                    <a:srgbClr val="E3E3E3">
                      <a:lumMod val="10000"/>
                      <a:alpha val="0"/>
                    </a:srgbClr>
                  </a:gs>
                  <a:gs pos="1000">
                    <a:srgbClr val="538FFF">
                      <a:alpha val="19000"/>
                    </a:srgbClr>
                  </a:gs>
                </a:gsLst>
                <a:lin ang="18900000" scaled="1"/>
                <a:tileRect/>
              </a:gradFill>
            </a:fillOverlay>
          </a:effectLst>
        </p:spPr>
        <p:txBody>
          <a:bodyPr rtlCol="0" anchor="ctr"/>
          <a:lstStyle>
            <a:lvl1pPr algn="ctr">
              <a:defRPr kumimoji="0" lang="en-US" b="0" i="0" u="none" strike="noStrike" kern="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</a:defRPr>
            </a:lvl1pPr>
          </a:lstStyle>
          <a:p>
            <a:pPr marR="0" lvl="0" algn="ctr" defTabSz="91440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/>
              <a:t> </a:t>
            </a:r>
          </a:p>
        </p:txBody>
      </p:sp>
      <p:sp>
        <p:nvSpPr>
          <p:cNvPr id="2" name="Gradient Overlay">
            <a:extLst>
              <a:ext uri="{FF2B5EF4-FFF2-40B4-BE49-F238E27FC236}">
                <a16:creationId xmlns:a16="http://schemas.microsoft.com/office/drawing/2014/main" id="{B640A9B8-017D-770A-F926-BD345E7FCF4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27000">
                <a:srgbClr val="072853">
                  <a:alpha val="77655"/>
                </a:srgbClr>
              </a:gs>
              <a:gs pos="100000">
                <a:srgbClr val="E3E3E3">
                  <a:lumMod val="10000"/>
                  <a:alpha val="0"/>
                </a:srgbClr>
              </a:gs>
              <a:gs pos="1000">
                <a:srgbClr val="538FFF">
                  <a:alpha val="19000"/>
                </a:srgbClr>
              </a:gs>
            </a:gsLst>
            <a:lin ang="189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Page Number">
            <a:extLst>
              <a:ext uri="{FF2B5EF4-FFF2-40B4-BE49-F238E27FC236}">
                <a16:creationId xmlns:a16="http://schemas.microsoft.com/office/drawing/2014/main" id="{76F9FC46-6208-CC39-7B3E-CA57286B34C9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itle plus Content">
            <a:extLst>
              <a:ext uri="{FF2B5EF4-FFF2-40B4-BE49-F238E27FC236}">
                <a16:creationId xmlns:a16="http://schemas.microsoft.com/office/drawing/2014/main" id="{A6E6DCA2-8017-4CD2-28FB-E1A0A967464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0" y="2406060"/>
            <a:ext cx="5003999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954734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quiggle">
            <a:extLst>
              <a:ext uri="{FF2B5EF4-FFF2-40B4-BE49-F238E27FC236}">
                <a16:creationId xmlns:a16="http://schemas.microsoft.com/office/drawing/2014/main" id="{E6B056FC-D76E-6EEE-1F46-98B3E85BDD72}"/>
              </a:ext>
            </a:extLst>
          </p:cNvPr>
          <p:cNvSpPr/>
          <p:nvPr/>
        </p:nvSpPr>
        <p:spPr>
          <a:xfrm rot="4430537">
            <a:off x="2406828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15000">
                <a:srgbClr val="01326E"/>
              </a:gs>
              <a:gs pos="30000">
                <a:srgbClr val="063878"/>
              </a:gs>
              <a:gs pos="78000">
                <a:srgbClr val="0F4287"/>
              </a:gs>
            </a:gsLst>
            <a:lin ang="15000009" scaled="1"/>
          </a:gra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Page Number">
            <a:extLst>
              <a:ext uri="{FF2B5EF4-FFF2-40B4-BE49-F238E27FC236}">
                <a16:creationId xmlns:a16="http://schemas.microsoft.com/office/drawing/2014/main" id="{5B0DC7E5-022C-E336-ADE4-61DCBE11E4B8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Content Right">
            <a:extLst>
              <a:ext uri="{FF2B5EF4-FFF2-40B4-BE49-F238E27FC236}">
                <a16:creationId xmlns:a16="http://schemas.microsoft.com/office/drawing/2014/main" id="{7C386E73-9374-BBFB-A747-8E349BFAA0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Content Left">
            <a:extLst>
              <a:ext uri="{FF2B5EF4-FFF2-40B4-BE49-F238E27FC236}">
                <a16:creationId xmlns:a16="http://schemas.microsoft.com/office/drawing/2014/main" id="{4A32F4B5-2541-213E-96AA-F00FB8F19F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8CB23AF2-DD56-8970-5A18-031902AD91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n-lt"/>
              </a:defRPr>
            </a:lvl8pPr>
            <a:lvl9pPr algn="ctr">
              <a:defRPr/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31362806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Dark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quiggle">
            <a:extLst>
              <a:ext uri="{FF2B5EF4-FFF2-40B4-BE49-F238E27FC236}">
                <a16:creationId xmlns:a16="http://schemas.microsoft.com/office/drawing/2014/main" id="{1E6DD7F4-E2C2-F58B-157D-CC07C47C23C1}"/>
              </a:ext>
            </a:extLst>
          </p:cNvPr>
          <p:cNvSpPr/>
          <p:nvPr/>
        </p:nvSpPr>
        <p:spPr>
          <a:xfrm>
            <a:off x="1" y="0"/>
            <a:ext cx="12191999" cy="6191520"/>
          </a:xfrm>
          <a:custGeom>
            <a:avLst/>
            <a:gdLst>
              <a:gd name="connsiteX0" fmla="*/ 6714175 w 12191999"/>
              <a:gd name="connsiteY0" fmla="*/ 0 h 6191520"/>
              <a:gd name="connsiteX1" fmla="*/ 8050801 w 12191999"/>
              <a:gd name="connsiteY1" fmla="*/ 0 h 6191520"/>
              <a:gd name="connsiteX2" fmla="*/ 10623550 w 12191999"/>
              <a:gd name="connsiteY2" fmla="*/ 692150 h 6191520"/>
              <a:gd name="connsiteX3" fmla="*/ 11134726 w 12191999"/>
              <a:gd name="connsiteY3" fmla="*/ 876300 h 6191520"/>
              <a:gd name="connsiteX4" fmla="*/ 10858501 w 12191999"/>
              <a:gd name="connsiteY4" fmla="*/ 2076451 h 6191520"/>
              <a:gd name="connsiteX5" fmla="*/ 8181976 w 12191999"/>
              <a:gd name="connsiteY5" fmla="*/ 2343151 h 6191520"/>
              <a:gd name="connsiteX6" fmla="*/ 12039359 w 12191999"/>
              <a:gd name="connsiteY6" fmla="*/ 2642538 h 6191520"/>
              <a:gd name="connsiteX7" fmla="*/ 12191999 w 12191999"/>
              <a:gd name="connsiteY7" fmla="*/ 2680470 h 6191520"/>
              <a:gd name="connsiteX8" fmla="*/ 12191999 w 12191999"/>
              <a:gd name="connsiteY8" fmla="*/ 4461251 h 6191520"/>
              <a:gd name="connsiteX9" fmla="*/ 12029198 w 12191999"/>
              <a:gd name="connsiteY9" fmla="*/ 4498611 h 6191520"/>
              <a:gd name="connsiteX10" fmla="*/ 3400734 w 12191999"/>
              <a:gd name="connsiteY10" fmla="*/ 4691832 h 6191520"/>
              <a:gd name="connsiteX11" fmla="*/ 10825317 w 12191999"/>
              <a:gd name="connsiteY11" fmla="*/ 4906297 h 6191520"/>
              <a:gd name="connsiteX12" fmla="*/ 10753725 w 12191999"/>
              <a:gd name="connsiteY12" fmla="*/ 6188486 h 6191520"/>
              <a:gd name="connsiteX13" fmla="*/ 483866 w 12191999"/>
              <a:gd name="connsiteY13" fmla="*/ 5753127 h 6191520"/>
              <a:gd name="connsiteX14" fmla="*/ 0 w 12191999"/>
              <a:gd name="connsiteY14" fmla="*/ 5700385 h 6191520"/>
              <a:gd name="connsiteX15" fmla="*/ 0 w 12191999"/>
              <a:gd name="connsiteY15" fmla="*/ 3731019 h 6191520"/>
              <a:gd name="connsiteX16" fmla="*/ 92261 w 12191999"/>
              <a:gd name="connsiteY16" fmla="*/ 3708145 h 6191520"/>
              <a:gd name="connsiteX17" fmla="*/ 1002891 w 12191999"/>
              <a:gd name="connsiteY17" fmla="*/ 3618271 h 6191520"/>
              <a:gd name="connsiteX18" fmla="*/ 25475 w 12191999"/>
              <a:gd name="connsiteY18" fmla="*/ 3349301 h 6191520"/>
              <a:gd name="connsiteX19" fmla="*/ 0 w 12191999"/>
              <a:gd name="connsiteY19" fmla="*/ 3338246 h 6191520"/>
              <a:gd name="connsiteX20" fmla="*/ 0 w 12191999"/>
              <a:gd name="connsiteY20" fmla="*/ 2172532 h 6191520"/>
              <a:gd name="connsiteX21" fmla="*/ 31629 w 12191999"/>
              <a:gd name="connsiteY21" fmla="*/ 2142588 h 6191520"/>
              <a:gd name="connsiteX22" fmla="*/ 7181852 w 12191999"/>
              <a:gd name="connsiteY22" fmla="*/ 1143000 h 6191520"/>
              <a:gd name="connsiteX23" fmla="*/ 6684468 w 12191999"/>
              <a:gd name="connsiteY23" fmla="*/ 45095 h 619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9" h="6191520">
                <a:moveTo>
                  <a:pt x="6714175" y="0"/>
                </a:moveTo>
                <a:lnTo>
                  <a:pt x="8050801" y="0"/>
                </a:lnTo>
                <a:lnTo>
                  <a:pt x="10623550" y="692150"/>
                </a:lnTo>
                <a:cubicBezTo>
                  <a:pt x="10793942" y="753533"/>
                  <a:pt x="10856384" y="764117"/>
                  <a:pt x="11134726" y="876300"/>
                </a:cubicBezTo>
                <a:cubicBezTo>
                  <a:pt x="11772901" y="1309688"/>
                  <a:pt x="11091478" y="2063050"/>
                  <a:pt x="10858501" y="2076451"/>
                </a:cubicBezTo>
                <a:cubicBezTo>
                  <a:pt x="10637716" y="2089151"/>
                  <a:pt x="9112251" y="2251076"/>
                  <a:pt x="8181976" y="2343151"/>
                </a:cubicBezTo>
                <a:cubicBezTo>
                  <a:pt x="9457135" y="2448720"/>
                  <a:pt x="10834391" y="2371974"/>
                  <a:pt x="12039359" y="2642538"/>
                </a:cubicBezTo>
                <a:lnTo>
                  <a:pt x="12191999" y="2680470"/>
                </a:lnTo>
                <a:lnTo>
                  <a:pt x="12191999" y="4461251"/>
                </a:lnTo>
                <a:lnTo>
                  <a:pt x="12029198" y="4498611"/>
                </a:lnTo>
                <a:cubicBezTo>
                  <a:pt x="10052580" y="4896281"/>
                  <a:pt x="3595103" y="4625802"/>
                  <a:pt x="3400734" y="4691832"/>
                </a:cubicBezTo>
                <a:cubicBezTo>
                  <a:pt x="3200095" y="4759992"/>
                  <a:pt x="9835794" y="4794506"/>
                  <a:pt x="10825317" y="4906297"/>
                </a:cubicBezTo>
                <a:cubicBezTo>
                  <a:pt x="11814840" y="5018088"/>
                  <a:pt x="11251074" y="6260794"/>
                  <a:pt x="10753725" y="6188486"/>
                </a:cubicBezTo>
                <a:cubicBezTo>
                  <a:pt x="8313425" y="6094676"/>
                  <a:pt x="4231215" y="6130491"/>
                  <a:pt x="483866" y="5753127"/>
                </a:cubicBezTo>
                <a:lnTo>
                  <a:pt x="0" y="5700385"/>
                </a:lnTo>
                <a:lnTo>
                  <a:pt x="0" y="3731019"/>
                </a:lnTo>
                <a:lnTo>
                  <a:pt x="92261" y="3708145"/>
                </a:lnTo>
                <a:cubicBezTo>
                  <a:pt x="430911" y="3635859"/>
                  <a:pt x="902136" y="3639908"/>
                  <a:pt x="1002891" y="3618271"/>
                </a:cubicBezTo>
                <a:cubicBezTo>
                  <a:pt x="992048" y="3621510"/>
                  <a:pt x="391872" y="3496392"/>
                  <a:pt x="25475" y="3349301"/>
                </a:cubicBezTo>
                <a:lnTo>
                  <a:pt x="0" y="3338246"/>
                </a:lnTo>
                <a:lnTo>
                  <a:pt x="0" y="2172532"/>
                </a:lnTo>
                <a:lnTo>
                  <a:pt x="31629" y="2142588"/>
                </a:lnTo>
                <a:cubicBezTo>
                  <a:pt x="905081" y="1446802"/>
                  <a:pt x="4950569" y="1355124"/>
                  <a:pt x="7181852" y="1143000"/>
                </a:cubicBezTo>
                <a:cubicBezTo>
                  <a:pt x="6322221" y="1016794"/>
                  <a:pt x="6432353" y="456605"/>
                  <a:pt x="6684468" y="45095"/>
                </a:cubicBezTo>
                <a:close/>
              </a:path>
            </a:pathLst>
          </a:custGeom>
          <a:gradFill flip="none" rotWithShape="1">
            <a:gsLst>
              <a:gs pos="77000">
                <a:srgbClr val="3A72D2"/>
              </a:gs>
              <a:gs pos="37000">
                <a:schemeClr val="accent1"/>
              </a:gs>
              <a:gs pos="0">
                <a:schemeClr val="accent1">
                  <a:lumMod val="50000"/>
                </a:schemeClr>
              </a:gs>
              <a:gs pos="100000">
                <a:srgbClr val="508CFB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91FED144-706E-40BF-05AD-D824465899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47D136EB-E265-B02D-31FA-D2556BEE9F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2BCE1666-68F9-B23D-25CA-48CFE4798B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n-lt"/>
              </a:defRPr>
            </a:lvl8pPr>
            <a:lvl9pPr algn="ctr">
              <a:defRPr/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37917550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BC">
    <p:bg>
      <p:bgPr>
        <a:gradFill>
          <a:gsLst>
            <a:gs pos="0">
              <a:schemeClr val="accent1"/>
            </a:gs>
            <a:gs pos="100000">
              <a:schemeClr val="accent3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qiggle">
            <a:extLst>
              <a:ext uri="{FF2B5EF4-FFF2-40B4-BE49-F238E27FC236}">
                <a16:creationId xmlns:a16="http://schemas.microsoft.com/office/drawing/2014/main" id="{7CFE2DE4-C24E-60C5-80CA-985A84B4053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268" t="3430" r="5268"/>
          <a:stretch/>
        </p:blipFill>
        <p:spPr>
          <a:xfrm>
            <a:off x="0" y="0"/>
            <a:ext cx="12192001" cy="6197600"/>
          </a:xfrm>
          <a:prstGeom prst="rect">
            <a:avLst/>
          </a:prstGeom>
        </p:spPr>
      </p:pic>
      <p:sp>
        <p:nvSpPr>
          <p:cNvPr id="14" name="Content Right">
            <a:extLst>
              <a:ext uri="{FF2B5EF4-FFF2-40B4-BE49-F238E27FC236}">
                <a16:creationId xmlns:a16="http://schemas.microsoft.com/office/drawing/2014/main" id="{565FE5FD-13AB-AEFA-D1C2-F2E347DD1EF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ontent Left">
            <a:extLst>
              <a:ext uri="{FF2B5EF4-FFF2-40B4-BE49-F238E27FC236}">
                <a16:creationId xmlns:a16="http://schemas.microsoft.com/office/drawing/2014/main" id="{2C9CF517-E5B8-36D8-B36C-5B35A7DCAA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C5615C34-CA3E-F307-1218-2A274BDD2A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4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4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4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4"/>
                </a:solidFill>
                <a:latin typeface="+mn-lt"/>
              </a:defRPr>
            </a:lvl8pPr>
            <a:lvl9pPr algn="ctr">
              <a:defRPr>
                <a:solidFill>
                  <a:schemeClr val="accent4"/>
                </a:solidFill>
              </a:defRPr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3918479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CC">
    <p:bg>
      <p:bgPr>
        <a:gradFill>
          <a:gsLst>
            <a:gs pos="0">
              <a:schemeClr val="accent4"/>
            </a:gs>
            <a:gs pos="100000">
              <a:schemeClr val="accent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quiggle">
            <a:extLst>
              <a:ext uri="{FF2B5EF4-FFF2-40B4-BE49-F238E27FC236}">
                <a16:creationId xmlns:a16="http://schemas.microsoft.com/office/drawing/2014/main" id="{A2CEC2FF-1490-0554-2D76-465A5050BD16}"/>
              </a:ext>
            </a:extLst>
          </p:cNvPr>
          <p:cNvSpPr/>
          <p:nvPr/>
        </p:nvSpPr>
        <p:spPr>
          <a:xfrm>
            <a:off x="1" y="0"/>
            <a:ext cx="12191999" cy="6858000"/>
          </a:xfrm>
          <a:custGeom>
            <a:avLst/>
            <a:gdLst>
              <a:gd name="connsiteX0" fmla="*/ 6714175 w 12191999"/>
              <a:gd name="connsiteY0" fmla="*/ 0 h 6191520"/>
              <a:gd name="connsiteX1" fmla="*/ 8050801 w 12191999"/>
              <a:gd name="connsiteY1" fmla="*/ 0 h 6191520"/>
              <a:gd name="connsiteX2" fmla="*/ 10623550 w 12191999"/>
              <a:gd name="connsiteY2" fmla="*/ 692150 h 6191520"/>
              <a:gd name="connsiteX3" fmla="*/ 11134726 w 12191999"/>
              <a:gd name="connsiteY3" fmla="*/ 876300 h 6191520"/>
              <a:gd name="connsiteX4" fmla="*/ 10858501 w 12191999"/>
              <a:gd name="connsiteY4" fmla="*/ 2076451 h 6191520"/>
              <a:gd name="connsiteX5" fmla="*/ 8181976 w 12191999"/>
              <a:gd name="connsiteY5" fmla="*/ 2343151 h 6191520"/>
              <a:gd name="connsiteX6" fmla="*/ 12039359 w 12191999"/>
              <a:gd name="connsiteY6" fmla="*/ 2642538 h 6191520"/>
              <a:gd name="connsiteX7" fmla="*/ 12191999 w 12191999"/>
              <a:gd name="connsiteY7" fmla="*/ 2680470 h 6191520"/>
              <a:gd name="connsiteX8" fmla="*/ 12191999 w 12191999"/>
              <a:gd name="connsiteY8" fmla="*/ 4461251 h 6191520"/>
              <a:gd name="connsiteX9" fmla="*/ 12029198 w 12191999"/>
              <a:gd name="connsiteY9" fmla="*/ 4498611 h 6191520"/>
              <a:gd name="connsiteX10" fmla="*/ 3400734 w 12191999"/>
              <a:gd name="connsiteY10" fmla="*/ 4691832 h 6191520"/>
              <a:gd name="connsiteX11" fmla="*/ 10825317 w 12191999"/>
              <a:gd name="connsiteY11" fmla="*/ 4906297 h 6191520"/>
              <a:gd name="connsiteX12" fmla="*/ 10753725 w 12191999"/>
              <a:gd name="connsiteY12" fmla="*/ 6188486 h 6191520"/>
              <a:gd name="connsiteX13" fmla="*/ 483866 w 12191999"/>
              <a:gd name="connsiteY13" fmla="*/ 5753127 h 6191520"/>
              <a:gd name="connsiteX14" fmla="*/ 0 w 12191999"/>
              <a:gd name="connsiteY14" fmla="*/ 5700385 h 6191520"/>
              <a:gd name="connsiteX15" fmla="*/ 0 w 12191999"/>
              <a:gd name="connsiteY15" fmla="*/ 3731019 h 6191520"/>
              <a:gd name="connsiteX16" fmla="*/ 92261 w 12191999"/>
              <a:gd name="connsiteY16" fmla="*/ 3708145 h 6191520"/>
              <a:gd name="connsiteX17" fmla="*/ 1002891 w 12191999"/>
              <a:gd name="connsiteY17" fmla="*/ 3618271 h 6191520"/>
              <a:gd name="connsiteX18" fmla="*/ 25475 w 12191999"/>
              <a:gd name="connsiteY18" fmla="*/ 3349301 h 6191520"/>
              <a:gd name="connsiteX19" fmla="*/ 0 w 12191999"/>
              <a:gd name="connsiteY19" fmla="*/ 3338246 h 6191520"/>
              <a:gd name="connsiteX20" fmla="*/ 0 w 12191999"/>
              <a:gd name="connsiteY20" fmla="*/ 2172532 h 6191520"/>
              <a:gd name="connsiteX21" fmla="*/ 31629 w 12191999"/>
              <a:gd name="connsiteY21" fmla="*/ 2142588 h 6191520"/>
              <a:gd name="connsiteX22" fmla="*/ 7181852 w 12191999"/>
              <a:gd name="connsiteY22" fmla="*/ 1143000 h 6191520"/>
              <a:gd name="connsiteX23" fmla="*/ 6684468 w 12191999"/>
              <a:gd name="connsiteY23" fmla="*/ 45095 h 619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9" h="6191520">
                <a:moveTo>
                  <a:pt x="6714175" y="0"/>
                </a:moveTo>
                <a:lnTo>
                  <a:pt x="8050801" y="0"/>
                </a:lnTo>
                <a:lnTo>
                  <a:pt x="10623550" y="692150"/>
                </a:lnTo>
                <a:cubicBezTo>
                  <a:pt x="10793942" y="753533"/>
                  <a:pt x="10856384" y="764117"/>
                  <a:pt x="11134726" y="876300"/>
                </a:cubicBezTo>
                <a:cubicBezTo>
                  <a:pt x="11772901" y="1309688"/>
                  <a:pt x="11091478" y="2063050"/>
                  <a:pt x="10858501" y="2076451"/>
                </a:cubicBezTo>
                <a:cubicBezTo>
                  <a:pt x="10637716" y="2089151"/>
                  <a:pt x="9112251" y="2251076"/>
                  <a:pt x="8181976" y="2343151"/>
                </a:cubicBezTo>
                <a:cubicBezTo>
                  <a:pt x="9457135" y="2448720"/>
                  <a:pt x="10834391" y="2371974"/>
                  <a:pt x="12039359" y="2642538"/>
                </a:cubicBezTo>
                <a:lnTo>
                  <a:pt x="12191999" y="2680470"/>
                </a:lnTo>
                <a:lnTo>
                  <a:pt x="12191999" y="4461251"/>
                </a:lnTo>
                <a:lnTo>
                  <a:pt x="12029198" y="4498611"/>
                </a:lnTo>
                <a:cubicBezTo>
                  <a:pt x="10052580" y="4896281"/>
                  <a:pt x="3595103" y="4625802"/>
                  <a:pt x="3400734" y="4691832"/>
                </a:cubicBezTo>
                <a:cubicBezTo>
                  <a:pt x="3200095" y="4759992"/>
                  <a:pt x="9835794" y="4794506"/>
                  <a:pt x="10825317" y="4906297"/>
                </a:cubicBezTo>
                <a:cubicBezTo>
                  <a:pt x="11814840" y="5018088"/>
                  <a:pt x="11251074" y="6260794"/>
                  <a:pt x="10753725" y="6188486"/>
                </a:cubicBezTo>
                <a:cubicBezTo>
                  <a:pt x="8313425" y="6094676"/>
                  <a:pt x="4231215" y="6130491"/>
                  <a:pt x="483866" y="5753127"/>
                </a:cubicBezTo>
                <a:lnTo>
                  <a:pt x="0" y="5700385"/>
                </a:lnTo>
                <a:lnTo>
                  <a:pt x="0" y="3731019"/>
                </a:lnTo>
                <a:lnTo>
                  <a:pt x="92261" y="3708145"/>
                </a:lnTo>
                <a:cubicBezTo>
                  <a:pt x="430911" y="3635859"/>
                  <a:pt x="902136" y="3639908"/>
                  <a:pt x="1002891" y="3618271"/>
                </a:cubicBezTo>
                <a:cubicBezTo>
                  <a:pt x="992048" y="3621510"/>
                  <a:pt x="391872" y="3496392"/>
                  <a:pt x="25475" y="3349301"/>
                </a:cubicBezTo>
                <a:lnTo>
                  <a:pt x="0" y="3338246"/>
                </a:lnTo>
                <a:lnTo>
                  <a:pt x="0" y="2172532"/>
                </a:lnTo>
                <a:lnTo>
                  <a:pt x="31629" y="2142588"/>
                </a:lnTo>
                <a:cubicBezTo>
                  <a:pt x="905081" y="1446802"/>
                  <a:pt x="4950569" y="1355124"/>
                  <a:pt x="7181852" y="1143000"/>
                </a:cubicBezTo>
                <a:cubicBezTo>
                  <a:pt x="6322221" y="1016794"/>
                  <a:pt x="6432353" y="456605"/>
                  <a:pt x="6684468" y="45095"/>
                </a:cubicBezTo>
                <a:close/>
              </a:path>
            </a:pathLst>
          </a:custGeom>
          <a:gradFill>
            <a:gsLst>
              <a:gs pos="81000">
                <a:schemeClr val="accent4"/>
              </a:gs>
              <a:gs pos="45000">
                <a:schemeClr val="accent5"/>
              </a:gs>
              <a:gs pos="0">
                <a:schemeClr val="accent5">
                  <a:lumMod val="75000"/>
                </a:schemeClr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ADA28BE9-F121-8062-CBAD-9A343CD32F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6E8E9C7C-A4E7-DBB7-A0F1-558FE349EB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59DCE367-7F86-E53B-D18B-45159C29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1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1"/>
                </a:solidFill>
                <a:latin typeface="+mn-lt"/>
              </a:defRPr>
            </a:lvl8pPr>
            <a:lvl9pPr algn="ctr"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1645596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CE">
    <p:bg>
      <p:bgPr>
        <a:gradFill>
          <a:gsLst>
            <a:gs pos="100000">
              <a:schemeClr val="accent2"/>
            </a:gs>
            <a:gs pos="1000">
              <a:schemeClr val="accent6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quiggle">
            <a:extLst>
              <a:ext uri="{FF2B5EF4-FFF2-40B4-BE49-F238E27FC236}">
                <a16:creationId xmlns:a16="http://schemas.microsoft.com/office/drawing/2014/main" id="{06464395-C2C6-ABCC-8A0F-EB434784476E}"/>
              </a:ext>
            </a:extLst>
          </p:cNvPr>
          <p:cNvSpPr/>
          <p:nvPr/>
        </p:nvSpPr>
        <p:spPr>
          <a:xfrm flipH="1">
            <a:off x="0" y="12700"/>
            <a:ext cx="12192000" cy="6845300"/>
          </a:xfrm>
          <a:custGeom>
            <a:avLst/>
            <a:gdLst>
              <a:gd name="connsiteX0" fmla="*/ 6199289 w 12192000"/>
              <a:gd name="connsiteY0" fmla="*/ 0 h 6845300"/>
              <a:gd name="connsiteX1" fmla="*/ 7203731 w 12192000"/>
              <a:gd name="connsiteY1" fmla="*/ 0 h 6845300"/>
              <a:gd name="connsiteX2" fmla="*/ 7359622 w 12192000"/>
              <a:gd name="connsiteY2" fmla="*/ 49453 h 6845300"/>
              <a:gd name="connsiteX3" fmla="*/ 8414960 w 12192000"/>
              <a:gd name="connsiteY3" fmla="*/ 1606495 h 6845300"/>
              <a:gd name="connsiteX4" fmla="*/ 5466469 w 12192000"/>
              <a:gd name="connsiteY4" fmla="*/ 2898099 h 6845300"/>
              <a:gd name="connsiteX5" fmla="*/ 5510206 w 12192000"/>
              <a:gd name="connsiteY5" fmla="*/ 2901236 h 6845300"/>
              <a:gd name="connsiteX6" fmla="*/ 5460194 w 12192000"/>
              <a:gd name="connsiteY6" fmla="*/ 2910257 h 6845300"/>
              <a:gd name="connsiteX7" fmla="*/ 5519365 w 12192000"/>
              <a:gd name="connsiteY7" fmla="*/ 2901893 h 6845300"/>
              <a:gd name="connsiteX8" fmla="*/ 5510206 w 12192000"/>
              <a:gd name="connsiteY8" fmla="*/ 2901236 h 6845300"/>
              <a:gd name="connsiteX9" fmla="*/ 5580191 w 12192000"/>
              <a:gd name="connsiteY9" fmla="*/ 2888612 h 6845300"/>
              <a:gd name="connsiteX10" fmla="*/ 11972077 w 12192000"/>
              <a:gd name="connsiteY10" fmla="*/ 2171553 h 6845300"/>
              <a:gd name="connsiteX11" fmla="*/ 12192000 w 12192000"/>
              <a:gd name="connsiteY11" fmla="*/ 2178484 h 6845300"/>
              <a:gd name="connsiteX12" fmla="*/ 12192000 w 12192000"/>
              <a:gd name="connsiteY12" fmla="*/ 5299398 h 6845300"/>
              <a:gd name="connsiteX13" fmla="*/ 12167811 w 12192000"/>
              <a:gd name="connsiteY13" fmla="*/ 5321244 h 6845300"/>
              <a:gd name="connsiteX14" fmla="*/ 6833810 w 12192000"/>
              <a:gd name="connsiteY14" fmla="*/ 6845245 h 6845300"/>
              <a:gd name="connsiteX15" fmla="*/ 4014410 w 12192000"/>
              <a:gd name="connsiteY15" fmla="*/ 5721294 h 6845300"/>
              <a:gd name="connsiteX16" fmla="*/ 6090862 w 12192000"/>
              <a:gd name="connsiteY16" fmla="*/ 5016445 h 6845300"/>
              <a:gd name="connsiteX17" fmla="*/ 8091111 w 12192000"/>
              <a:gd name="connsiteY17" fmla="*/ 4387794 h 6845300"/>
              <a:gd name="connsiteX18" fmla="*/ 133191 w 12192000"/>
              <a:gd name="connsiteY18" fmla="*/ 5201685 h 6845300"/>
              <a:gd name="connsiteX19" fmla="*/ 0 w 12192000"/>
              <a:gd name="connsiteY19" fmla="*/ 5177688 h 6845300"/>
              <a:gd name="connsiteX20" fmla="*/ 0 w 12192000"/>
              <a:gd name="connsiteY20" fmla="*/ 2436193 h 684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000" h="6845300">
                <a:moveTo>
                  <a:pt x="6199289" y="0"/>
                </a:moveTo>
                <a:lnTo>
                  <a:pt x="7203731" y="0"/>
                </a:lnTo>
                <a:lnTo>
                  <a:pt x="7359622" y="49453"/>
                </a:lnTo>
                <a:cubicBezTo>
                  <a:pt x="8204617" y="379158"/>
                  <a:pt x="8544341" y="1258039"/>
                  <a:pt x="8414960" y="1606495"/>
                </a:cubicBezTo>
                <a:cubicBezTo>
                  <a:pt x="8247843" y="2056585"/>
                  <a:pt x="5039486" y="2835429"/>
                  <a:pt x="5466469" y="2898099"/>
                </a:cubicBezTo>
                <a:lnTo>
                  <a:pt x="5510206" y="2901236"/>
                </a:lnTo>
                <a:lnTo>
                  <a:pt x="5460194" y="2910257"/>
                </a:lnTo>
                <a:cubicBezTo>
                  <a:pt x="5292756" y="2940883"/>
                  <a:pt x="5292153" y="2943234"/>
                  <a:pt x="5519365" y="2901893"/>
                </a:cubicBezTo>
                <a:lnTo>
                  <a:pt x="5510206" y="2901236"/>
                </a:lnTo>
                <a:lnTo>
                  <a:pt x="5580191" y="2888612"/>
                </a:lnTo>
                <a:cubicBezTo>
                  <a:pt x="6521601" y="2720756"/>
                  <a:pt x="10015123" y="2137155"/>
                  <a:pt x="11972077" y="2171553"/>
                </a:cubicBezTo>
                <a:lnTo>
                  <a:pt x="12192000" y="2178484"/>
                </a:lnTo>
                <a:lnTo>
                  <a:pt x="12192000" y="5299398"/>
                </a:lnTo>
                <a:lnTo>
                  <a:pt x="12167811" y="5321244"/>
                </a:lnTo>
                <a:cubicBezTo>
                  <a:pt x="11357127" y="6035619"/>
                  <a:pt x="8192710" y="6781745"/>
                  <a:pt x="6833810" y="6845245"/>
                </a:cubicBezTo>
                <a:cubicBezTo>
                  <a:pt x="5589211" y="6851595"/>
                  <a:pt x="4014410" y="6315019"/>
                  <a:pt x="4014410" y="5721294"/>
                </a:cubicBezTo>
                <a:cubicBezTo>
                  <a:pt x="4014410" y="5127569"/>
                  <a:pt x="5411411" y="5238695"/>
                  <a:pt x="6090862" y="5016445"/>
                </a:cubicBezTo>
                <a:cubicBezTo>
                  <a:pt x="6770312" y="4794195"/>
                  <a:pt x="9538911" y="4140145"/>
                  <a:pt x="8091111" y="4387794"/>
                </a:cubicBezTo>
                <a:cubicBezTo>
                  <a:pt x="6733800" y="4619965"/>
                  <a:pt x="1980415" y="5478145"/>
                  <a:pt x="133191" y="5201685"/>
                </a:cubicBezTo>
                <a:lnTo>
                  <a:pt x="0" y="5177688"/>
                </a:lnTo>
                <a:lnTo>
                  <a:pt x="0" y="2436193"/>
                </a:lnTo>
                <a:close/>
              </a:path>
            </a:pathLst>
          </a:custGeom>
          <a:gradFill flip="none" rotWithShape="1">
            <a:gsLst>
              <a:gs pos="89000">
                <a:srgbClr val="00B8E1"/>
              </a:gs>
              <a:gs pos="58000">
                <a:srgbClr val="00B9BB"/>
              </a:gs>
              <a:gs pos="13000">
                <a:schemeClr val="accent6"/>
              </a:gs>
            </a:gsLst>
            <a:lin ang="5400000" scaled="1"/>
            <a:tileRect/>
          </a:gra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03200" tIns="203200" rIns="203200" bIns="203200" rtlCol="0" anchor="ctr">
            <a:noAutofit/>
          </a:bodyPr>
          <a:lstStyle/>
          <a:p>
            <a:pPr algn="ctr" defTabSz="486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C838D4E0-5FA5-149F-DA63-5537298677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4D97221C-C54B-48A3-07B5-36612F448B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DE9B26B4-B170-0585-EE3B-86F2524427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4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4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4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4"/>
                </a:solidFill>
                <a:latin typeface="+mn-lt"/>
              </a:defRPr>
            </a:lvl8pPr>
            <a:lvl9pPr algn="ctr">
              <a:defRPr>
                <a:solidFill>
                  <a:schemeClr val="accent4"/>
                </a:solidFill>
              </a:defRPr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33318198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DA">
    <p:bg>
      <p:bgPr>
        <a:gradFill>
          <a:gsLst>
            <a:gs pos="0">
              <a:schemeClr val="accent2"/>
            </a:gs>
            <a:gs pos="100000">
              <a:schemeClr val="accent3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quiggle">
            <a:extLst>
              <a:ext uri="{FF2B5EF4-FFF2-40B4-BE49-F238E27FC236}">
                <a16:creationId xmlns:a16="http://schemas.microsoft.com/office/drawing/2014/main" id="{1E6DD7F4-E2C2-F58B-157D-CC07C47C23C1}"/>
              </a:ext>
            </a:extLst>
          </p:cNvPr>
          <p:cNvSpPr/>
          <p:nvPr/>
        </p:nvSpPr>
        <p:spPr>
          <a:xfrm>
            <a:off x="1" y="0"/>
            <a:ext cx="12191999" cy="6858000"/>
          </a:xfrm>
          <a:custGeom>
            <a:avLst/>
            <a:gdLst>
              <a:gd name="connsiteX0" fmla="*/ 6714175 w 12191999"/>
              <a:gd name="connsiteY0" fmla="*/ 0 h 6191520"/>
              <a:gd name="connsiteX1" fmla="*/ 8050801 w 12191999"/>
              <a:gd name="connsiteY1" fmla="*/ 0 h 6191520"/>
              <a:gd name="connsiteX2" fmla="*/ 10623550 w 12191999"/>
              <a:gd name="connsiteY2" fmla="*/ 692150 h 6191520"/>
              <a:gd name="connsiteX3" fmla="*/ 11134726 w 12191999"/>
              <a:gd name="connsiteY3" fmla="*/ 876300 h 6191520"/>
              <a:gd name="connsiteX4" fmla="*/ 10858501 w 12191999"/>
              <a:gd name="connsiteY4" fmla="*/ 2076451 h 6191520"/>
              <a:gd name="connsiteX5" fmla="*/ 8181976 w 12191999"/>
              <a:gd name="connsiteY5" fmla="*/ 2343151 h 6191520"/>
              <a:gd name="connsiteX6" fmla="*/ 12039359 w 12191999"/>
              <a:gd name="connsiteY6" fmla="*/ 2642538 h 6191520"/>
              <a:gd name="connsiteX7" fmla="*/ 12191999 w 12191999"/>
              <a:gd name="connsiteY7" fmla="*/ 2680470 h 6191520"/>
              <a:gd name="connsiteX8" fmla="*/ 12191999 w 12191999"/>
              <a:gd name="connsiteY8" fmla="*/ 4461251 h 6191520"/>
              <a:gd name="connsiteX9" fmla="*/ 12029198 w 12191999"/>
              <a:gd name="connsiteY9" fmla="*/ 4498611 h 6191520"/>
              <a:gd name="connsiteX10" fmla="*/ 3400734 w 12191999"/>
              <a:gd name="connsiteY10" fmla="*/ 4691832 h 6191520"/>
              <a:gd name="connsiteX11" fmla="*/ 10825317 w 12191999"/>
              <a:gd name="connsiteY11" fmla="*/ 4906297 h 6191520"/>
              <a:gd name="connsiteX12" fmla="*/ 10753725 w 12191999"/>
              <a:gd name="connsiteY12" fmla="*/ 6188486 h 6191520"/>
              <a:gd name="connsiteX13" fmla="*/ 483866 w 12191999"/>
              <a:gd name="connsiteY13" fmla="*/ 5753127 h 6191520"/>
              <a:gd name="connsiteX14" fmla="*/ 0 w 12191999"/>
              <a:gd name="connsiteY14" fmla="*/ 5700385 h 6191520"/>
              <a:gd name="connsiteX15" fmla="*/ 0 w 12191999"/>
              <a:gd name="connsiteY15" fmla="*/ 3731019 h 6191520"/>
              <a:gd name="connsiteX16" fmla="*/ 92261 w 12191999"/>
              <a:gd name="connsiteY16" fmla="*/ 3708145 h 6191520"/>
              <a:gd name="connsiteX17" fmla="*/ 1002891 w 12191999"/>
              <a:gd name="connsiteY17" fmla="*/ 3618271 h 6191520"/>
              <a:gd name="connsiteX18" fmla="*/ 25475 w 12191999"/>
              <a:gd name="connsiteY18" fmla="*/ 3349301 h 6191520"/>
              <a:gd name="connsiteX19" fmla="*/ 0 w 12191999"/>
              <a:gd name="connsiteY19" fmla="*/ 3338246 h 6191520"/>
              <a:gd name="connsiteX20" fmla="*/ 0 w 12191999"/>
              <a:gd name="connsiteY20" fmla="*/ 2172532 h 6191520"/>
              <a:gd name="connsiteX21" fmla="*/ 31629 w 12191999"/>
              <a:gd name="connsiteY21" fmla="*/ 2142588 h 6191520"/>
              <a:gd name="connsiteX22" fmla="*/ 7181852 w 12191999"/>
              <a:gd name="connsiteY22" fmla="*/ 1143000 h 6191520"/>
              <a:gd name="connsiteX23" fmla="*/ 6684468 w 12191999"/>
              <a:gd name="connsiteY23" fmla="*/ 45095 h 619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9" h="6191520">
                <a:moveTo>
                  <a:pt x="6714175" y="0"/>
                </a:moveTo>
                <a:lnTo>
                  <a:pt x="8050801" y="0"/>
                </a:lnTo>
                <a:lnTo>
                  <a:pt x="10623550" y="692150"/>
                </a:lnTo>
                <a:cubicBezTo>
                  <a:pt x="10793942" y="753533"/>
                  <a:pt x="10856384" y="764117"/>
                  <a:pt x="11134726" y="876300"/>
                </a:cubicBezTo>
                <a:cubicBezTo>
                  <a:pt x="11772901" y="1309688"/>
                  <a:pt x="11091478" y="2063050"/>
                  <a:pt x="10858501" y="2076451"/>
                </a:cubicBezTo>
                <a:cubicBezTo>
                  <a:pt x="10637716" y="2089151"/>
                  <a:pt x="9112251" y="2251076"/>
                  <a:pt x="8181976" y="2343151"/>
                </a:cubicBezTo>
                <a:cubicBezTo>
                  <a:pt x="9457135" y="2448720"/>
                  <a:pt x="10834391" y="2371974"/>
                  <a:pt x="12039359" y="2642538"/>
                </a:cubicBezTo>
                <a:lnTo>
                  <a:pt x="12191999" y="2680470"/>
                </a:lnTo>
                <a:lnTo>
                  <a:pt x="12191999" y="4461251"/>
                </a:lnTo>
                <a:lnTo>
                  <a:pt x="12029198" y="4498611"/>
                </a:lnTo>
                <a:cubicBezTo>
                  <a:pt x="10052580" y="4896281"/>
                  <a:pt x="3595103" y="4625802"/>
                  <a:pt x="3400734" y="4691832"/>
                </a:cubicBezTo>
                <a:cubicBezTo>
                  <a:pt x="3200095" y="4759992"/>
                  <a:pt x="9835794" y="4794506"/>
                  <a:pt x="10825317" y="4906297"/>
                </a:cubicBezTo>
                <a:cubicBezTo>
                  <a:pt x="11814840" y="5018088"/>
                  <a:pt x="11251074" y="6260794"/>
                  <a:pt x="10753725" y="6188486"/>
                </a:cubicBezTo>
                <a:cubicBezTo>
                  <a:pt x="8313425" y="6094676"/>
                  <a:pt x="4231215" y="6130491"/>
                  <a:pt x="483866" y="5753127"/>
                </a:cubicBezTo>
                <a:lnTo>
                  <a:pt x="0" y="5700385"/>
                </a:lnTo>
                <a:lnTo>
                  <a:pt x="0" y="3731019"/>
                </a:lnTo>
                <a:lnTo>
                  <a:pt x="92261" y="3708145"/>
                </a:lnTo>
                <a:cubicBezTo>
                  <a:pt x="430911" y="3635859"/>
                  <a:pt x="902136" y="3639908"/>
                  <a:pt x="1002891" y="3618271"/>
                </a:cubicBezTo>
                <a:cubicBezTo>
                  <a:pt x="992048" y="3621510"/>
                  <a:pt x="391872" y="3496392"/>
                  <a:pt x="25475" y="3349301"/>
                </a:cubicBezTo>
                <a:lnTo>
                  <a:pt x="0" y="3338246"/>
                </a:lnTo>
                <a:lnTo>
                  <a:pt x="0" y="2172532"/>
                </a:lnTo>
                <a:lnTo>
                  <a:pt x="31629" y="2142588"/>
                </a:lnTo>
                <a:cubicBezTo>
                  <a:pt x="905081" y="1446802"/>
                  <a:pt x="4950569" y="1355124"/>
                  <a:pt x="7181852" y="1143000"/>
                </a:cubicBezTo>
                <a:cubicBezTo>
                  <a:pt x="6322221" y="1016794"/>
                  <a:pt x="6432353" y="456605"/>
                  <a:pt x="6684468" y="45095"/>
                </a:cubicBezTo>
                <a:close/>
              </a:path>
            </a:pathLst>
          </a:custGeom>
          <a:gradFill flip="none" rotWithShape="1">
            <a:gsLst>
              <a:gs pos="90000">
                <a:schemeClr val="accent2"/>
              </a:gs>
              <a:gs pos="37000">
                <a:schemeClr val="accent3"/>
              </a:gs>
              <a:gs pos="0">
                <a:schemeClr val="accent3">
                  <a:lumMod val="50000"/>
                </a:schemeClr>
              </a:gs>
              <a:gs pos="100000">
                <a:schemeClr val="accent2">
                  <a:lumMod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91FED144-706E-40BF-05AD-D824465899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47D136EB-E265-B02D-31FA-D2556BEE9F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4B1FFFD7-DD5D-2FB2-1E99-087C94150B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1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1"/>
                </a:solidFill>
                <a:latin typeface="+mn-lt"/>
              </a:defRPr>
            </a:lvl8pPr>
            <a:lvl9pPr algn="ctr"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6956057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377633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ight Blu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0382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 Number">
            <a:extLst>
              <a:ext uri="{FF2B5EF4-FFF2-40B4-BE49-F238E27FC236}">
                <a16:creationId xmlns:a16="http://schemas.microsoft.com/office/drawing/2014/main" id="{14714A40-A869-BCD1-091E-69FC8C5C546A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5198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ith Swoosh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quiggle">
            <a:extLst>
              <a:ext uri="{FF2B5EF4-FFF2-40B4-BE49-F238E27FC236}">
                <a16:creationId xmlns:a16="http://schemas.microsoft.com/office/drawing/2014/main" id="{F1E92234-4982-3E11-5373-29201E90D1F3}"/>
              </a:ext>
            </a:extLst>
          </p:cNvPr>
          <p:cNvSpPr/>
          <p:nvPr/>
        </p:nvSpPr>
        <p:spPr>
          <a:xfrm rot="21159125" flipH="1">
            <a:off x="-319821" y="265105"/>
            <a:ext cx="12690000" cy="7380000"/>
          </a:xfrm>
          <a:custGeom>
            <a:avLst/>
            <a:gdLst>
              <a:gd name="connsiteX0" fmla="*/ 9663071 w 12695865"/>
              <a:gd name="connsiteY0" fmla="*/ 4936695 h 7287592"/>
              <a:gd name="connsiteX1" fmla="*/ 10305791 w 12695865"/>
              <a:gd name="connsiteY1" fmla="*/ 5792294 h 7287592"/>
              <a:gd name="connsiteX2" fmla="*/ 10311345 w 12695865"/>
              <a:gd name="connsiteY2" fmla="*/ 6036691 h 7287592"/>
              <a:gd name="connsiteX3" fmla="*/ 7848321 w 12695865"/>
              <a:gd name="connsiteY3" fmla="*/ 6354305 h 7287592"/>
              <a:gd name="connsiteX4" fmla="*/ 8104991 w 12695865"/>
              <a:gd name="connsiteY4" fmla="*/ 6087878 h 7287592"/>
              <a:gd name="connsiteX5" fmla="*/ 8557333 w 12695865"/>
              <a:gd name="connsiteY5" fmla="*/ 5654250 h 7287592"/>
              <a:gd name="connsiteX6" fmla="*/ 8513989 w 12695865"/>
              <a:gd name="connsiteY6" fmla="*/ 5695171 h 7287592"/>
              <a:gd name="connsiteX7" fmla="*/ 9663071 w 12695865"/>
              <a:gd name="connsiteY7" fmla="*/ 4936695 h 7287592"/>
              <a:gd name="connsiteX8" fmla="*/ 12541795 w 12695865"/>
              <a:gd name="connsiteY8" fmla="*/ 4534420 h 7287592"/>
              <a:gd name="connsiteX9" fmla="*/ 12695865 w 12695865"/>
              <a:gd name="connsiteY9" fmla="*/ 5729200 h 7287592"/>
              <a:gd name="connsiteX10" fmla="*/ 10900128 w 12695865"/>
              <a:gd name="connsiteY10" fmla="*/ 5960765 h 7287592"/>
              <a:gd name="connsiteX11" fmla="*/ 10946590 w 12695865"/>
              <a:gd name="connsiteY11" fmla="*/ 5897077 h 7287592"/>
              <a:gd name="connsiteX12" fmla="*/ 12448100 w 12695865"/>
              <a:gd name="connsiteY12" fmla="*/ 4561770 h 7287592"/>
              <a:gd name="connsiteX13" fmla="*/ 1370551 w 12695865"/>
              <a:gd name="connsiteY13" fmla="*/ 351679 h 7287592"/>
              <a:gd name="connsiteX14" fmla="*/ 4097748 w 12695865"/>
              <a:gd name="connsiteY14" fmla="*/ 0 h 7287592"/>
              <a:gd name="connsiteX15" fmla="*/ 4040937 w 12695865"/>
              <a:gd name="connsiteY15" fmla="*/ 206166 h 7287592"/>
              <a:gd name="connsiteX16" fmla="*/ 3126329 w 12695865"/>
              <a:gd name="connsiteY16" fmla="*/ 4987643 h 7287592"/>
              <a:gd name="connsiteX17" fmla="*/ 5213612 w 12695865"/>
              <a:gd name="connsiteY17" fmla="*/ 6403045 h 7287592"/>
              <a:gd name="connsiteX18" fmla="*/ 5130314 w 12695865"/>
              <a:gd name="connsiteY18" fmla="*/ 6704801 h 7287592"/>
              <a:gd name="connsiteX19" fmla="*/ 610910 w 12695865"/>
              <a:gd name="connsiteY19" fmla="*/ 7287592 h 7287592"/>
              <a:gd name="connsiteX20" fmla="*/ 627644 w 12695865"/>
              <a:gd name="connsiteY20" fmla="*/ 7128260 h 7287592"/>
              <a:gd name="connsiteX21" fmla="*/ 1900910 w 12695865"/>
              <a:gd name="connsiteY21" fmla="*/ 1224060 h 7287592"/>
              <a:gd name="connsiteX22" fmla="*/ 629083 w 12695865"/>
              <a:gd name="connsiteY22" fmla="*/ 3725990 h 7287592"/>
              <a:gd name="connsiteX23" fmla="*/ 251309 w 12695865"/>
              <a:gd name="connsiteY23" fmla="*/ 4553535 h 7287592"/>
              <a:gd name="connsiteX24" fmla="*/ 0 w 12695865"/>
              <a:gd name="connsiteY24" fmla="*/ 2604695 h 7287592"/>
              <a:gd name="connsiteX25" fmla="*/ 2386 w 12695865"/>
              <a:gd name="connsiteY25" fmla="*/ 2600336 h 7287592"/>
              <a:gd name="connsiteX26" fmla="*/ 1325283 w 12695865"/>
              <a:gd name="connsiteY26" fmla="*/ 419479 h 728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695865" h="7287592">
                <a:moveTo>
                  <a:pt x="9663071" y="4936695"/>
                </a:moveTo>
                <a:cubicBezTo>
                  <a:pt x="10060600" y="4894909"/>
                  <a:pt x="10268482" y="5244305"/>
                  <a:pt x="10305791" y="5792294"/>
                </a:cubicBezTo>
                <a:lnTo>
                  <a:pt x="10311345" y="6036691"/>
                </a:lnTo>
                <a:lnTo>
                  <a:pt x="7848321" y="6354305"/>
                </a:lnTo>
                <a:lnTo>
                  <a:pt x="8104991" y="6087878"/>
                </a:lnTo>
                <a:cubicBezTo>
                  <a:pt x="8252505" y="5940608"/>
                  <a:pt x="8403221" y="5796001"/>
                  <a:pt x="8557333" y="5654250"/>
                </a:cubicBezTo>
                <a:lnTo>
                  <a:pt x="8513989" y="5695171"/>
                </a:lnTo>
                <a:cubicBezTo>
                  <a:pt x="8998410" y="5195972"/>
                  <a:pt x="9379120" y="4966542"/>
                  <a:pt x="9663071" y="4936695"/>
                </a:cubicBezTo>
                <a:close/>
                <a:moveTo>
                  <a:pt x="12541795" y="4534420"/>
                </a:moveTo>
                <a:lnTo>
                  <a:pt x="12695865" y="5729200"/>
                </a:lnTo>
                <a:lnTo>
                  <a:pt x="10900128" y="5960765"/>
                </a:lnTo>
                <a:lnTo>
                  <a:pt x="10946590" y="5897077"/>
                </a:lnTo>
                <a:cubicBezTo>
                  <a:pt x="11371257" y="5326275"/>
                  <a:pt x="11838265" y="4782811"/>
                  <a:pt x="12448100" y="4561770"/>
                </a:cubicBezTo>
                <a:close/>
                <a:moveTo>
                  <a:pt x="1370551" y="351679"/>
                </a:moveTo>
                <a:lnTo>
                  <a:pt x="4097748" y="0"/>
                </a:lnTo>
                <a:lnTo>
                  <a:pt x="4040937" y="206166"/>
                </a:lnTo>
                <a:cubicBezTo>
                  <a:pt x="3490251" y="2200230"/>
                  <a:pt x="2877792" y="4387758"/>
                  <a:pt x="3126329" y="4987643"/>
                </a:cubicBezTo>
                <a:cubicBezTo>
                  <a:pt x="6193293" y="1106531"/>
                  <a:pt x="6065499" y="3229140"/>
                  <a:pt x="5213612" y="6403045"/>
                </a:cubicBezTo>
                <a:lnTo>
                  <a:pt x="5130314" y="6704801"/>
                </a:lnTo>
                <a:lnTo>
                  <a:pt x="610910" y="7287592"/>
                </a:lnTo>
                <a:lnTo>
                  <a:pt x="627644" y="7128260"/>
                </a:lnTo>
                <a:cubicBezTo>
                  <a:pt x="875017" y="5047620"/>
                  <a:pt x="1616591" y="2236346"/>
                  <a:pt x="1900910" y="1224060"/>
                </a:cubicBezTo>
                <a:cubicBezTo>
                  <a:pt x="1445282" y="2042854"/>
                  <a:pt x="1026698" y="2879400"/>
                  <a:pt x="629083" y="3725990"/>
                </a:cubicBezTo>
                <a:lnTo>
                  <a:pt x="251309" y="4553535"/>
                </a:lnTo>
                <a:lnTo>
                  <a:pt x="0" y="2604695"/>
                </a:lnTo>
                <a:lnTo>
                  <a:pt x="2386" y="2600336"/>
                </a:lnTo>
                <a:cubicBezTo>
                  <a:pt x="429300" y="1840867"/>
                  <a:pt x="876718" y="1104271"/>
                  <a:pt x="1325283" y="419479"/>
                </a:cubicBez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117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8FC8295C-3D67-1A2A-D3FF-3587A0DDF7AD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9CC6FB-50A5-8E85-2352-EFD550F00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5599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quiggle">
            <a:extLst>
              <a:ext uri="{FF2B5EF4-FFF2-40B4-BE49-F238E27FC236}">
                <a16:creationId xmlns:a16="http://schemas.microsoft.com/office/drawing/2014/main" id="{5E6E4728-D40D-35DA-66B0-22FC4E6E8CDE}"/>
              </a:ext>
            </a:extLst>
          </p:cNvPr>
          <p:cNvSpPr/>
          <p:nvPr/>
        </p:nvSpPr>
        <p:spPr>
          <a:xfrm rot="4430537">
            <a:off x="2406828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15000">
                <a:srgbClr val="01326E"/>
              </a:gs>
              <a:gs pos="30000">
                <a:srgbClr val="063878"/>
              </a:gs>
              <a:gs pos="78000">
                <a:srgbClr val="0F4287"/>
              </a:gs>
            </a:gsLst>
            <a:lin ang="15000009" scaled="1"/>
          </a:gra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C1A5A066-7C32-E9BB-5006-1E1E179DF5DD}"/>
              </a:ext>
            </a:extLst>
          </p:cNvPr>
          <p:cNvSpPr/>
          <p:nvPr/>
        </p:nvSpPr>
        <p:spPr bwMode="black">
          <a:xfrm>
            <a:off x="4368800" y="2961927"/>
            <a:ext cx="3454400" cy="934146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718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:a14="http://schemas.microsoft.com/office/drawing/2010/main" xmlns:p15="http://schemas.microsoft.com/office/powerpoint/2012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Swoos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adient background">
            <a:extLst>
              <a:ext uri="{FF2B5EF4-FFF2-40B4-BE49-F238E27FC236}">
                <a16:creationId xmlns:a16="http://schemas.microsoft.com/office/drawing/2014/main" id="{FF4FA843-E9AB-E4D0-4382-8A499820EF90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0" name="Squiggle">
            <a:extLst>
              <a:ext uri="{FF2B5EF4-FFF2-40B4-BE49-F238E27FC236}">
                <a16:creationId xmlns:a16="http://schemas.microsoft.com/office/drawing/2014/main" id="{751B40F4-B93C-487C-7153-09E178C1455F}"/>
              </a:ext>
            </a:extLst>
          </p:cNvPr>
          <p:cNvSpPr>
            <a:spLocks/>
          </p:cNvSpPr>
          <p:nvPr/>
        </p:nvSpPr>
        <p:spPr bwMode="ltGray">
          <a:xfrm rot="8762903">
            <a:off x="-918620" y="638750"/>
            <a:ext cx="13864612" cy="6245410"/>
          </a:xfrm>
          <a:custGeom>
            <a:avLst/>
            <a:gdLst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996876 w 6958630"/>
              <a:gd name="connsiteY11" fmla="*/ 4908063 h 5352044"/>
              <a:gd name="connsiteX12" fmla="*/ 1398177 w 6958630"/>
              <a:gd name="connsiteY12" fmla="*/ 4201072 h 5352044"/>
              <a:gd name="connsiteX13" fmla="*/ 1590566 w 6958630"/>
              <a:gd name="connsiteY13" fmla="*/ 3604919 h 5352044"/>
              <a:gd name="connsiteX14" fmla="*/ 1974502 w 6958630"/>
              <a:gd name="connsiteY14" fmla="*/ 2496593 h 5352044"/>
              <a:gd name="connsiteX15" fmla="*/ 2349059 w 6958630"/>
              <a:gd name="connsiteY15" fmla="*/ 1514660 h 5352044"/>
              <a:gd name="connsiteX16" fmla="*/ 2474209 w 6958630"/>
              <a:gd name="connsiteY16" fmla="*/ 1195792 h 5352044"/>
              <a:gd name="connsiteX17" fmla="*/ 2595638 w 6958630"/>
              <a:gd name="connsiteY17" fmla="*/ 980346 h 5352044"/>
              <a:gd name="connsiteX18" fmla="*/ 3160829 w 6958630"/>
              <a:gd name="connsiteY18" fmla="*/ 512585 h 5352044"/>
              <a:gd name="connsiteX19" fmla="*/ 3435866 w 6958630"/>
              <a:gd name="connsiteY19" fmla="*/ 585618 h 5352044"/>
              <a:gd name="connsiteX20" fmla="*/ 3450660 w 6958630"/>
              <a:gd name="connsiteY20" fmla="*/ 838639 h 5352044"/>
              <a:gd name="connsiteX21" fmla="*/ 3404013 w 6958630"/>
              <a:gd name="connsiteY21" fmla="*/ 1499936 h 5352044"/>
              <a:gd name="connsiteX22" fmla="*/ 3313870 w 6958630"/>
              <a:gd name="connsiteY22" fmla="*/ 2850918 h 5352044"/>
              <a:gd name="connsiteX23" fmla="*/ 3369572 w 6958630"/>
              <a:gd name="connsiteY23" fmla="*/ 2686006 h 5352044"/>
              <a:gd name="connsiteX24" fmla="*/ 3706860 w 6958630"/>
              <a:gd name="connsiteY24" fmla="*/ 1716324 h 5352044"/>
              <a:gd name="connsiteX25" fmla="*/ 3936380 w 6958630"/>
              <a:gd name="connsiteY25" fmla="*/ 1155977 h 5352044"/>
              <a:gd name="connsiteX26" fmla="*/ 4337132 w 6958630"/>
              <a:gd name="connsiteY26" fmla="*/ 522126 h 5352044"/>
              <a:gd name="connsiteX27" fmla="*/ 4436557 w 6958630"/>
              <a:gd name="connsiteY27" fmla="*/ 425574 h 5352044"/>
              <a:gd name="connsiteX28" fmla="*/ 4508920 w 6958630"/>
              <a:gd name="connsiteY28" fmla="*/ 367382 h 5352044"/>
              <a:gd name="connsiteX29" fmla="*/ 5115640 w 6958630"/>
              <a:gd name="connsiteY29" fmla="*/ 1083845 h 5352044"/>
              <a:gd name="connsiteX30" fmla="*/ 5115018 w 6958630"/>
              <a:gd name="connsiteY30" fmla="*/ 1096653 h 5352044"/>
              <a:gd name="connsiteX31" fmla="*/ 5091987 w 6958630"/>
              <a:gd name="connsiteY31" fmla="*/ 1380611 h 5352044"/>
              <a:gd name="connsiteX32" fmla="*/ 5018983 w 6958630"/>
              <a:gd name="connsiteY32" fmla="*/ 2135554 h 5352044"/>
              <a:gd name="connsiteX33" fmla="*/ 4977834 w 6958630"/>
              <a:gd name="connsiteY33" fmla="*/ 2587648 h 5352044"/>
              <a:gd name="connsiteX34" fmla="*/ 5285289 w 6958630"/>
              <a:gd name="connsiteY34" fmla="*/ 2003389 h 5352044"/>
              <a:gd name="connsiteX35" fmla="*/ 5453822 w 6958630"/>
              <a:gd name="connsiteY35" fmla="*/ 1744212 h 5352044"/>
              <a:gd name="connsiteX36" fmla="*/ 5559908 w 6958630"/>
              <a:gd name="connsiteY36" fmla="*/ 1608472 h 5352044"/>
              <a:gd name="connsiteX37" fmla="*/ 6798419 w 6958630"/>
              <a:gd name="connsiteY37" fmla="*/ 3071005 h 5352044"/>
              <a:gd name="connsiteX38" fmla="*/ 6799849 w 6958630"/>
              <a:gd name="connsiteY38" fmla="*/ 3148467 h 5352044"/>
              <a:gd name="connsiteX39" fmla="*/ 6825478 w 6958630"/>
              <a:gd name="connsiteY39" fmla="*/ 3218437 h 5352044"/>
              <a:gd name="connsiteX40" fmla="*/ 6835906 w 6958630"/>
              <a:gd name="connsiteY40" fmla="*/ 3236811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825478 w 6958630"/>
              <a:gd name="connsiteY40" fmla="*/ 3218437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75" fmla="*/ 1996876 w 6958630"/>
              <a:gd name="connsiteY75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904383 w 6958630"/>
              <a:gd name="connsiteY40" fmla="*/ 3276626 h 5352044"/>
              <a:gd name="connsiteX41" fmla="*/ 6958630 w 6958630"/>
              <a:gd name="connsiteY41" fmla="*/ 3303366 h 5352044"/>
              <a:gd name="connsiteX42" fmla="*/ 6929041 w 6958630"/>
              <a:gd name="connsiteY42" fmla="*/ 3371333 h 5352044"/>
              <a:gd name="connsiteX43" fmla="*/ 6842183 w 6958630"/>
              <a:gd name="connsiteY43" fmla="*/ 3496813 h 5352044"/>
              <a:gd name="connsiteX44" fmla="*/ 6752598 w 6958630"/>
              <a:gd name="connsiteY44" fmla="*/ 3590980 h 5352044"/>
              <a:gd name="connsiteX45" fmla="*/ 6636435 w 6958630"/>
              <a:gd name="connsiteY45" fmla="*/ 3689350 h 5352044"/>
              <a:gd name="connsiteX46" fmla="*/ 6534262 w 6958630"/>
              <a:gd name="connsiteY46" fmla="*/ 3751543 h 5352044"/>
              <a:gd name="connsiteX47" fmla="*/ 6311623 w 6958630"/>
              <a:gd name="connsiteY47" fmla="*/ 3821071 h 5352044"/>
              <a:gd name="connsiteX48" fmla="*/ 6205393 w 6958630"/>
              <a:gd name="connsiteY48" fmla="*/ 3821425 h 5352044"/>
              <a:gd name="connsiteX49" fmla="*/ 6113794 w 6958630"/>
              <a:gd name="connsiteY49" fmla="*/ 3789856 h 5352044"/>
              <a:gd name="connsiteX50" fmla="*/ 5957763 w 6958630"/>
              <a:gd name="connsiteY50" fmla="*/ 3645087 h 5352044"/>
              <a:gd name="connsiteX51" fmla="*/ 5871500 w 6958630"/>
              <a:gd name="connsiteY51" fmla="*/ 3407024 h 5352044"/>
              <a:gd name="connsiteX52" fmla="*/ 5850157 w 6958630"/>
              <a:gd name="connsiteY52" fmla="*/ 3228802 h 5352044"/>
              <a:gd name="connsiteX53" fmla="*/ 5855735 w 6958630"/>
              <a:gd name="connsiteY53" fmla="*/ 2702379 h 5352044"/>
              <a:gd name="connsiteX54" fmla="*/ 5851694 w 6958630"/>
              <a:gd name="connsiteY54" fmla="*/ 2416140 h 5352044"/>
              <a:gd name="connsiteX55" fmla="*/ 5849753 w 6958630"/>
              <a:gd name="connsiteY55" fmla="*/ 2339220 h 5352044"/>
              <a:gd name="connsiteX56" fmla="*/ 5526775 w 6958630"/>
              <a:gd name="connsiteY56" fmla="*/ 3089687 h 5352044"/>
              <a:gd name="connsiteX57" fmla="*/ 5318032 w 6958630"/>
              <a:gd name="connsiteY57" fmla="*/ 3567460 h 5352044"/>
              <a:gd name="connsiteX58" fmla="*/ 5075333 w 6958630"/>
              <a:gd name="connsiteY58" fmla="*/ 3948996 h 5352044"/>
              <a:gd name="connsiteX59" fmla="*/ 4924556 w 6958630"/>
              <a:gd name="connsiteY59" fmla="*/ 4127219 h 5352044"/>
              <a:gd name="connsiteX60" fmla="*/ 4635048 w 6958630"/>
              <a:gd name="connsiteY60" fmla="*/ 4368343 h 5352044"/>
              <a:gd name="connsiteX61" fmla="*/ 4359931 w 6958630"/>
              <a:gd name="connsiteY61" fmla="*/ 4482250 h 5352044"/>
              <a:gd name="connsiteX62" fmla="*/ 4263401 w 6958630"/>
              <a:gd name="connsiteY62" fmla="*/ 4484960 h 5352044"/>
              <a:gd name="connsiteX63" fmla="*/ 3999117 w 6958630"/>
              <a:gd name="connsiteY63" fmla="*/ 4107900 h 5352044"/>
              <a:gd name="connsiteX64" fmla="*/ 3984242 w 6958630"/>
              <a:gd name="connsiteY64" fmla="*/ 3763234 h 5352044"/>
              <a:gd name="connsiteX65" fmla="*/ 4001623 w 6958630"/>
              <a:gd name="connsiteY65" fmla="*/ 3345301 h 5352044"/>
              <a:gd name="connsiteX66" fmla="*/ 4018520 w 6958630"/>
              <a:gd name="connsiteY66" fmla="*/ 3140220 h 5352044"/>
              <a:gd name="connsiteX67" fmla="*/ 3918918 w 6958630"/>
              <a:gd name="connsiteY67" fmla="*/ 3442952 h 5352044"/>
              <a:gd name="connsiteX68" fmla="*/ 3739925 w 6958630"/>
              <a:gd name="connsiteY68" fmla="*/ 3941692 h 5352044"/>
              <a:gd name="connsiteX69" fmla="*/ 3266332 w 6958630"/>
              <a:gd name="connsiteY69" fmla="*/ 4905602 h 5352044"/>
              <a:gd name="connsiteX70" fmla="*/ 2513418 w 6958630"/>
              <a:gd name="connsiteY70" fmla="*/ 5349452 h 5352044"/>
              <a:gd name="connsiteX71" fmla="*/ 2277187 w 6958630"/>
              <a:gd name="connsiteY71" fmla="*/ 4857072 h 5352044"/>
              <a:gd name="connsiteX72" fmla="*/ 2326260 w 6958630"/>
              <a:gd name="connsiteY72" fmla="*/ 3819775 h 5352044"/>
              <a:gd name="connsiteX73" fmla="*/ 2048658 w 6958630"/>
              <a:gd name="connsiteY73" fmla="*/ 4760224 h 5352044"/>
              <a:gd name="connsiteX74" fmla="*/ 1996876 w 6958630"/>
              <a:gd name="connsiteY74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904383 w 6958630"/>
              <a:gd name="connsiteY39" fmla="*/ 3276626 h 5352044"/>
              <a:gd name="connsiteX40" fmla="*/ 6958630 w 6958630"/>
              <a:gd name="connsiteY40" fmla="*/ 3303366 h 5352044"/>
              <a:gd name="connsiteX41" fmla="*/ 6929041 w 6958630"/>
              <a:gd name="connsiteY41" fmla="*/ 3371333 h 5352044"/>
              <a:gd name="connsiteX42" fmla="*/ 6842183 w 6958630"/>
              <a:gd name="connsiteY42" fmla="*/ 3496813 h 5352044"/>
              <a:gd name="connsiteX43" fmla="*/ 6752598 w 6958630"/>
              <a:gd name="connsiteY43" fmla="*/ 3590980 h 5352044"/>
              <a:gd name="connsiteX44" fmla="*/ 6636435 w 6958630"/>
              <a:gd name="connsiteY44" fmla="*/ 3689350 h 5352044"/>
              <a:gd name="connsiteX45" fmla="*/ 6534262 w 6958630"/>
              <a:gd name="connsiteY45" fmla="*/ 3751543 h 5352044"/>
              <a:gd name="connsiteX46" fmla="*/ 6311623 w 6958630"/>
              <a:gd name="connsiteY46" fmla="*/ 3821071 h 5352044"/>
              <a:gd name="connsiteX47" fmla="*/ 6205393 w 6958630"/>
              <a:gd name="connsiteY47" fmla="*/ 3821425 h 5352044"/>
              <a:gd name="connsiteX48" fmla="*/ 6113794 w 6958630"/>
              <a:gd name="connsiteY48" fmla="*/ 3789856 h 5352044"/>
              <a:gd name="connsiteX49" fmla="*/ 5957763 w 6958630"/>
              <a:gd name="connsiteY49" fmla="*/ 3645087 h 5352044"/>
              <a:gd name="connsiteX50" fmla="*/ 5871500 w 6958630"/>
              <a:gd name="connsiteY50" fmla="*/ 3407024 h 5352044"/>
              <a:gd name="connsiteX51" fmla="*/ 5850157 w 6958630"/>
              <a:gd name="connsiteY51" fmla="*/ 3228802 h 5352044"/>
              <a:gd name="connsiteX52" fmla="*/ 5855735 w 6958630"/>
              <a:gd name="connsiteY52" fmla="*/ 2702379 h 5352044"/>
              <a:gd name="connsiteX53" fmla="*/ 5851694 w 6958630"/>
              <a:gd name="connsiteY53" fmla="*/ 2416140 h 5352044"/>
              <a:gd name="connsiteX54" fmla="*/ 5849753 w 6958630"/>
              <a:gd name="connsiteY54" fmla="*/ 2339220 h 5352044"/>
              <a:gd name="connsiteX55" fmla="*/ 5526775 w 6958630"/>
              <a:gd name="connsiteY55" fmla="*/ 3089687 h 5352044"/>
              <a:gd name="connsiteX56" fmla="*/ 5318032 w 6958630"/>
              <a:gd name="connsiteY56" fmla="*/ 3567460 h 5352044"/>
              <a:gd name="connsiteX57" fmla="*/ 5075333 w 6958630"/>
              <a:gd name="connsiteY57" fmla="*/ 3948996 h 5352044"/>
              <a:gd name="connsiteX58" fmla="*/ 4924556 w 6958630"/>
              <a:gd name="connsiteY58" fmla="*/ 4127219 h 5352044"/>
              <a:gd name="connsiteX59" fmla="*/ 4635048 w 6958630"/>
              <a:gd name="connsiteY59" fmla="*/ 4368343 h 5352044"/>
              <a:gd name="connsiteX60" fmla="*/ 4359931 w 6958630"/>
              <a:gd name="connsiteY60" fmla="*/ 4482250 h 5352044"/>
              <a:gd name="connsiteX61" fmla="*/ 4263401 w 6958630"/>
              <a:gd name="connsiteY61" fmla="*/ 4484960 h 5352044"/>
              <a:gd name="connsiteX62" fmla="*/ 3999117 w 6958630"/>
              <a:gd name="connsiteY62" fmla="*/ 4107900 h 5352044"/>
              <a:gd name="connsiteX63" fmla="*/ 3984242 w 6958630"/>
              <a:gd name="connsiteY63" fmla="*/ 3763234 h 5352044"/>
              <a:gd name="connsiteX64" fmla="*/ 4001623 w 6958630"/>
              <a:gd name="connsiteY64" fmla="*/ 3345301 h 5352044"/>
              <a:gd name="connsiteX65" fmla="*/ 4018520 w 6958630"/>
              <a:gd name="connsiteY65" fmla="*/ 3140220 h 5352044"/>
              <a:gd name="connsiteX66" fmla="*/ 3918918 w 6958630"/>
              <a:gd name="connsiteY66" fmla="*/ 3442952 h 5352044"/>
              <a:gd name="connsiteX67" fmla="*/ 3739925 w 6958630"/>
              <a:gd name="connsiteY67" fmla="*/ 3941692 h 5352044"/>
              <a:gd name="connsiteX68" fmla="*/ 3266332 w 6958630"/>
              <a:gd name="connsiteY68" fmla="*/ 4905602 h 5352044"/>
              <a:gd name="connsiteX69" fmla="*/ 2513418 w 6958630"/>
              <a:gd name="connsiteY69" fmla="*/ 5349452 h 5352044"/>
              <a:gd name="connsiteX70" fmla="*/ 2277187 w 6958630"/>
              <a:gd name="connsiteY70" fmla="*/ 4857072 h 5352044"/>
              <a:gd name="connsiteX71" fmla="*/ 2326260 w 6958630"/>
              <a:gd name="connsiteY71" fmla="*/ 3819775 h 5352044"/>
              <a:gd name="connsiteX72" fmla="*/ 2048658 w 6958630"/>
              <a:gd name="connsiteY72" fmla="*/ 4760224 h 5352044"/>
              <a:gd name="connsiteX73" fmla="*/ 1996876 w 6958630"/>
              <a:gd name="connsiteY73" fmla="*/ 4908063 h 5352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6958630" h="5352044">
                <a:moveTo>
                  <a:pt x="1075189" y="3819662"/>
                </a:moveTo>
                <a:lnTo>
                  <a:pt x="0" y="2549993"/>
                </a:lnTo>
                <a:lnTo>
                  <a:pt x="273834" y="1601357"/>
                </a:lnTo>
                <a:cubicBezTo>
                  <a:pt x="334145" y="1401224"/>
                  <a:pt x="392071" y="1194731"/>
                  <a:pt x="455464" y="992346"/>
                </a:cubicBezTo>
                <a:lnTo>
                  <a:pt x="482058" y="912917"/>
                </a:lnTo>
                <a:lnTo>
                  <a:pt x="1560103" y="0"/>
                </a:lnTo>
                <a:lnTo>
                  <a:pt x="1563049" y="19661"/>
                </a:lnTo>
                <a:cubicBezTo>
                  <a:pt x="1562735" y="79603"/>
                  <a:pt x="1547759" y="145008"/>
                  <a:pt x="1535672" y="208675"/>
                </a:cubicBezTo>
                <a:cubicBezTo>
                  <a:pt x="1503981" y="375590"/>
                  <a:pt x="1464447" y="539089"/>
                  <a:pt x="1431946" y="705650"/>
                </a:cubicBezTo>
                <a:cubicBezTo>
                  <a:pt x="1382793" y="957376"/>
                  <a:pt x="1338086" y="1211340"/>
                  <a:pt x="1308739" y="1469663"/>
                </a:cubicBezTo>
                <a:cubicBezTo>
                  <a:pt x="1231248" y="2152398"/>
                  <a:pt x="1132111" y="2839043"/>
                  <a:pt x="1089432" y="3521397"/>
                </a:cubicBezTo>
                <a:lnTo>
                  <a:pt x="1075189" y="3819662"/>
                </a:lnTo>
                <a:close/>
                <a:moveTo>
                  <a:pt x="1996876" y="4908063"/>
                </a:moveTo>
                <a:lnTo>
                  <a:pt x="1398177" y="4201072"/>
                </a:lnTo>
                <a:lnTo>
                  <a:pt x="1590566" y="3604919"/>
                </a:lnTo>
                <a:cubicBezTo>
                  <a:pt x="1715230" y="3233985"/>
                  <a:pt x="1843451" y="2864347"/>
                  <a:pt x="1974502" y="2496593"/>
                </a:cubicBezTo>
                <a:cubicBezTo>
                  <a:pt x="2096579" y="2167829"/>
                  <a:pt x="2219221" y="1839301"/>
                  <a:pt x="2349059" y="1514660"/>
                </a:cubicBezTo>
                <a:cubicBezTo>
                  <a:pt x="2389159" y="1407350"/>
                  <a:pt x="2429178" y="1300275"/>
                  <a:pt x="2474209" y="1195792"/>
                </a:cubicBezTo>
                <a:cubicBezTo>
                  <a:pt x="2506143" y="1116870"/>
                  <a:pt x="2552548" y="1049491"/>
                  <a:pt x="2595638" y="980346"/>
                </a:cubicBezTo>
                <a:cubicBezTo>
                  <a:pt x="2735420" y="756066"/>
                  <a:pt x="2952975" y="554992"/>
                  <a:pt x="3160829" y="512585"/>
                </a:cubicBezTo>
                <a:cubicBezTo>
                  <a:pt x="3221463" y="500216"/>
                  <a:pt x="3408378" y="448388"/>
                  <a:pt x="3435866" y="585618"/>
                </a:cubicBezTo>
                <a:cubicBezTo>
                  <a:pt x="3451954" y="666424"/>
                  <a:pt x="3452762" y="752296"/>
                  <a:pt x="3450660" y="838639"/>
                </a:cubicBezTo>
                <a:cubicBezTo>
                  <a:pt x="3439018" y="1058797"/>
                  <a:pt x="3418080" y="1279661"/>
                  <a:pt x="3404013" y="1499936"/>
                </a:cubicBezTo>
                <a:cubicBezTo>
                  <a:pt x="3374990" y="1950264"/>
                  <a:pt x="3346451" y="2400472"/>
                  <a:pt x="3313870" y="2850918"/>
                </a:cubicBezTo>
                <a:cubicBezTo>
                  <a:pt x="3332222" y="2798028"/>
                  <a:pt x="3350735" y="2741958"/>
                  <a:pt x="3369572" y="2686006"/>
                </a:cubicBezTo>
                <a:cubicBezTo>
                  <a:pt x="3474752" y="2359481"/>
                  <a:pt x="3593999" y="2039316"/>
                  <a:pt x="3706860" y="1716324"/>
                </a:cubicBezTo>
                <a:cubicBezTo>
                  <a:pt x="3783340" y="1529502"/>
                  <a:pt x="3858769" y="1342092"/>
                  <a:pt x="3936380" y="1155977"/>
                </a:cubicBezTo>
                <a:cubicBezTo>
                  <a:pt x="4039217" y="901659"/>
                  <a:pt x="4175037" y="691750"/>
                  <a:pt x="4337132" y="522126"/>
                </a:cubicBezTo>
                <a:cubicBezTo>
                  <a:pt x="4369187" y="488614"/>
                  <a:pt x="4402385" y="456103"/>
                  <a:pt x="4436557" y="425574"/>
                </a:cubicBezTo>
                <a:lnTo>
                  <a:pt x="4508920" y="367382"/>
                </a:lnTo>
                <a:lnTo>
                  <a:pt x="5115640" y="1083845"/>
                </a:lnTo>
                <a:cubicBezTo>
                  <a:pt x="5115433" y="1088114"/>
                  <a:pt x="5115225" y="1092384"/>
                  <a:pt x="5115018" y="1096653"/>
                </a:cubicBezTo>
                <a:cubicBezTo>
                  <a:pt x="5108399" y="1191256"/>
                  <a:pt x="5100234" y="1285963"/>
                  <a:pt x="5091987" y="1380611"/>
                </a:cubicBezTo>
                <a:cubicBezTo>
                  <a:pt x="5067734" y="1632219"/>
                  <a:pt x="5042105" y="1883946"/>
                  <a:pt x="5018983" y="2135554"/>
                </a:cubicBezTo>
                <a:cubicBezTo>
                  <a:pt x="5005644" y="2286213"/>
                  <a:pt x="4990608" y="2436988"/>
                  <a:pt x="4977834" y="2587648"/>
                </a:cubicBezTo>
                <a:cubicBezTo>
                  <a:pt x="5067734" y="2382804"/>
                  <a:pt x="5169275" y="2185970"/>
                  <a:pt x="5285289" y="2003389"/>
                </a:cubicBezTo>
                <a:cubicBezTo>
                  <a:pt x="5338404" y="1913394"/>
                  <a:pt x="5394693" y="1826992"/>
                  <a:pt x="5453822" y="1744212"/>
                </a:cubicBezTo>
                <a:lnTo>
                  <a:pt x="5559908" y="1608472"/>
                </a:lnTo>
                <a:lnTo>
                  <a:pt x="6798419" y="3071005"/>
                </a:lnTo>
                <a:cubicBezTo>
                  <a:pt x="7022498" y="3349031"/>
                  <a:pt x="6877681" y="3237899"/>
                  <a:pt x="6904383" y="3276626"/>
                </a:cubicBezTo>
                <a:cubicBezTo>
                  <a:pt x="6931085" y="3315353"/>
                  <a:pt x="6916024" y="3277333"/>
                  <a:pt x="6958630" y="3303366"/>
                </a:cubicBezTo>
                <a:cubicBezTo>
                  <a:pt x="6951435" y="3327514"/>
                  <a:pt x="6940360" y="3349895"/>
                  <a:pt x="6929041" y="3371333"/>
                </a:cubicBezTo>
                <a:cubicBezTo>
                  <a:pt x="6903291" y="3416979"/>
                  <a:pt x="6873864" y="3458560"/>
                  <a:pt x="6842183" y="3496813"/>
                </a:cubicBezTo>
                <a:lnTo>
                  <a:pt x="6752598" y="3590980"/>
                </a:lnTo>
                <a:lnTo>
                  <a:pt x="6636435" y="3689350"/>
                </a:lnTo>
                <a:lnTo>
                  <a:pt x="6534262" y="3751543"/>
                </a:lnTo>
                <a:cubicBezTo>
                  <a:pt x="6461450" y="3788383"/>
                  <a:pt x="6386122" y="3811941"/>
                  <a:pt x="6311623" y="3821071"/>
                </a:cubicBezTo>
                <a:cubicBezTo>
                  <a:pt x="6276293" y="3821071"/>
                  <a:pt x="6240237" y="3825901"/>
                  <a:pt x="6205393" y="3821425"/>
                </a:cubicBezTo>
                <a:cubicBezTo>
                  <a:pt x="6173378" y="3816949"/>
                  <a:pt x="6144192" y="3800928"/>
                  <a:pt x="6113794" y="3789856"/>
                </a:cubicBezTo>
                <a:cubicBezTo>
                  <a:pt x="6049199" y="3766885"/>
                  <a:pt x="6001500" y="3706693"/>
                  <a:pt x="5957763" y="3645087"/>
                </a:cubicBezTo>
                <a:cubicBezTo>
                  <a:pt x="5909660" y="3583952"/>
                  <a:pt x="5886294" y="3495606"/>
                  <a:pt x="5871500" y="3407024"/>
                </a:cubicBezTo>
                <a:cubicBezTo>
                  <a:pt x="5863092" y="3348127"/>
                  <a:pt x="5850885" y="3290408"/>
                  <a:pt x="5850157" y="3228802"/>
                </a:cubicBezTo>
                <a:cubicBezTo>
                  <a:pt x="5850400" y="3053642"/>
                  <a:pt x="5852987" y="2878010"/>
                  <a:pt x="5855735" y="2702379"/>
                </a:cubicBezTo>
                <a:cubicBezTo>
                  <a:pt x="5857594" y="2606377"/>
                  <a:pt x="5854684" y="2511200"/>
                  <a:pt x="5851694" y="2416140"/>
                </a:cubicBezTo>
                <a:cubicBezTo>
                  <a:pt x="5851046" y="2390579"/>
                  <a:pt x="5850480" y="2364900"/>
                  <a:pt x="5849753" y="2339220"/>
                </a:cubicBezTo>
                <a:cubicBezTo>
                  <a:pt x="5734872" y="2584115"/>
                  <a:pt x="5634056" y="2840199"/>
                  <a:pt x="5526775" y="3089687"/>
                </a:cubicBezTo>
                <a:cubicBezTo>
                  <a:pt x="5457490" y="3249062"/>
                  <a:pt x="5393056" y="3412090"/>
                  <a:pt x="5318032" y="3567460"/>
                </a:cubicBezTo>
                <a:cubicBezTo>
                  <a:pt x="5246403" y="3703512"/>
                  <a:pt x="5166607" y="3834736"/>
                  <a:pt x="5075333" y="3948996"/>
                </a:cubicBezTo>
                <a:cubicBezTo>
                  <a:pt x="5025128" y="4008364"/>
                  <a:pt x="4978641" y="4074447"/>
                  <a:pt x="4924556" y="4127219"/>
                </a:cubicBezTo>
                <a:cubicBezTo>
                  <a:pt x="4833929" y="4221924"/>
                  <a:pt x="4736267" y="4300730"/>
                  <a:pt x="4635048" y="4368343"/>
                </a:cubicBezTo>
                <a:cubicBezTo>
                  <a:pt x="4545875" y="4421704"/>
                  <a:pt x="4453550" y="4465759"/>
                  <a:pt x="4359931" y="4482250"/>
                </a:cubicBezTo>
                <a:lnTo>
                  <a:pt x="4263401" y="4484960"/>
                </a:lnTo>
                <a:cubicBezTo>
                  <a:pt x="4105994" y="4489435"/>
                  <a:pt x="4027817" y="4304380"/>
                  <a:pt x="3999117" y="4107900"/>
                </a:cubicBezTo>
                <a:cubicBezTo>
                  <a:pt x="3982786" y="3996350"/>
                  <a:pt x="3980765" y="3880086"/>
                  <a:pt x="3984242" y="3763234"/>
                </a:cubicBezTo>
                <a:cubicBezTo>
                  <a:pt x="3985940" y="3624473"/>
                  <a:pt x="3992407" y="3485004"/>
                  <a:pt x="4001623" y="3345301"/>
                </a:cubicBezTo>
                <a:cubicBezTo>
                  <a:pt x="4006959" y="3276980"/>
                  <a:pt x="4012699" y="3208542"/>
                  <a:pt x="4018520" y="3140220"/>
                </a:cubicBezTo>
                <a:cubicBezTo>
                  <a:pt x="3985453" y="3241170"/>
                  <a:pt x="3952307" y="3342120"/>
                  <a:pt x="3918918" y="3442952"/>
                </a:cubicBezTo>
                <a:cubicBezTo>
                  <a:pt x="3863701" y="3611397"/>
                  <a:pt x="3803389" y="3777369"/>
                  <a:pt x="3739925" y="3941692"/>
                </a:cubicBezTo>
                <a:cubicBezTo>
                  <a:pt x="3602570" y="4297548"/>
                  <a:pt x="3480251" y="4629021"/>
                  <a:pt x="3266332" y="4905602"/>
                </a:cubicBezTo>
                <a:cubicBezTo>
                  <a:pt x="3060904" y="5171229"/>
                  <a:pt x="2795488" y="5377722"/>
                  <a:pt x="2513418" y="5349452"/>
                </a:cubicBezTo>
                <a:cubicBezTo>
                  <a:pt x="2339681" y="5332135"/>
                  <a:pt x="2280583" y="5075815"/>
                  <a:pt x="2277187" y="4857072"/>
                </a:cubicBezTo>
                <a:cubicBezTo>
                  <a:pt x="2271851" y="4510050"/>
                  <a:pt x="2288263" y="4162439"/>
                  <a:pt x="2326260" y="3819775"/>
                </a:cubicBezTo>
                <a:cubicBezTo>
                  <a:pt x="2310617" y="3866819"/>
                  <a:pt x="2212992" y="4271266"/>
                  <a:pt x="2048658" y="4760224"/>
                </a:cubicBezTo>
                <a:lnTo>
                  <a:pt x="1996876" y="4908063"/>
                </a:ln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D54D6AB9-BB50-7A8E-96E0-70DFABB05129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12A26B-B15B-78FA-A387-E9C046AE6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421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light blue sw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quiggle">
            <a:extLst>
              <a:ext uri="{FF2B5EF4-FFF2-40B4-BE49-F238E27FC236}">
                <a16:creationId xmlns:a16="http://schemas.microsoft.com/office/drawing/2014/main" id="{BAF5E0ED-0333-392E-AB78-7C19A767D9DA}"/>
              </a:ext>
            </a:extLst>
          </p:cNvPr>
          <p:cNvSpPr/>
          <p:nvPr/>
        </p:nvSpPr>
        <p:spPr>
          <a:xfrm rot="4430537">
            <a:off x="2406828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solidFill>
            <a:schemeClr val="accent3">
              <a:alpha val="20000"/>
            </a:schemeClr>
          </a:soli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Logo">
            <a:extLst>
              <a:ext uri="{FF2B5EF4-FFF2-40B4-BE49-F238E27FC236}">
                <a16:creationId xmlns:a16="http://schemas.microsoft.com/office/drawing/2014/main" id="{03C3DFE9-7B51-03ED-E3F6-9296D2ECF020}"/>
              </a:ext>
            </a:extLst>
          </p:cNvPr>
          <p:cNvSpPr>
            <a:spLocks/>
          </p:cNvSpPr>
          <p:nvPr/>
        </p:nvSpPr>
        <p:spPr bwMode="black">
          <a:xfrm>
            <a:off x="9211095" y="767925"/>
            <a:ext cx="2442107" cy="660400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Blue Block">
            <a:extLst>
              <a:ext uri="{FF2B5EF4-FFF2-40B4-BE49-F238E27FC236}">
                <a16:creationId xmlns:a16="http://schemas.microsoft.com/office/drawing/2014/main" id="{7AD4D1C8-300A-85EA-CD84-2E0586AD7D57}"/>
              </a:ext>
            </a:extLst>
          </p:cNvPr>
          <p:cNvSpPr>
            <a:spLocks/>
          </p:cNvSpPr>
          <p:nvPr/>
        </p:nvSpPr>
        <p:spPr bwMode="white">
          <a:xfrm>
            <a:off x="0" y="-1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9AD7562C-8257-11ED-C6EF-B20B75504B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E8877920-AA15-4721-9894-E5C6B06DAC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15177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  <p15:guide id="2" orient="horz" pos="1207">
          <p15:clr>
            <a:srgbClr val="FBAE40"/>
          </p15:clr>
        </p15:guide>
        <p15:guide id="3" orient="horz" pos="16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Swoos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dient Background">
            <a:extLst>
              <a:ext uri="{FF2B5EF4-FFF2-40B4-BE49-F238E27FC236}">
                <a16:creationId xmlns:a16="http://schemas.microsoft.com/office/drawing/2014/main" id="{7BDE401D-4346-E214-A278-26C52B091835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2" name="Squiggle">
            <a:extLst>
              <a:ext uri="{FF2B5EF4-FFF2-40B4-BE49-F238E27FC236}">
                <a16:creationId xmlns:a16="http://schemas.microsoft.com/office/drawing/2014/main" id="{92B22213-A051-71E7-9A41-11A3E82568DA}"/>
              </a:ext>
            </a:extLst>
          </p:cNvPr>
          <p:cNvSpPr>
            <a:spLocks/>
          </p:cNvSpPr>
          <p:nvPr/>
        </p:nvSpPr>
        <p:spPr bwMode="ltGray">
          <a:xfrm rot="8762903">
            <a:off x="-918620" y="638750"/>
            <a:ext cx="13864612" cy="6245410"/>
          </a:xfrm>
          <a:custGeom>
            <a:avLst/>
            <a:gdLst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996876 w 6958630"/>
              <a:gd name="connsiteY11" fmla="*/ 4908063 h 5352044"/>
              <a:gd name="connsiteX12" fmla="*/ 1398177 w 6958630"/>
              <a:gd name="connsiteY12" fmla="*/ 4201072 h 5352044"/>
              <a:gd name="connsiteX13" fmla="*/ 1590566 w 6958630"/>
              <a:gd name="connsiteY13" fmla="*/ 3604919 h 5352044"/>
              <a:gd name="connsiteX14" fmla="*/ 1974502 w 6958630"/>
              <a:gd name="connsiteY14" fmla="*/ 2496593 h 5352044"/>
              <a:gd name="connsiteX15" fmla="*/ 2349059 w 6958630"/>
              <a:gd name="connsiteY15" fmla="*/ 1514660 h 5352044"/>
              <a:gd name="connsiteX16" fmla="*/ 2474209 w 6958630"/>
              <a:gd name="connsiteY16" fmla="*/ 1195792 h 5352044"/>
              <a:gd name="connsiteX17" fmla="*/ 2595638 w 6958630"/>
              <a:gd name="connsiteY17" fmla="*/ 980346 h 5352044"/>
              <a:gd name="connsiteX18" fmla="*/ 3160829 w 6958630"/>
              <a:gd name="connsiteY18" fmla="*/ 512585 h 5352044"/>
              <a:gd name="connsiteX19" fmla="*/ 3435866 w 6958630"/>
              <a:gd name="connsiteY19" fmla="*/ 585618 h 5352044"/>
              <a:gd name="connsiteX20" fmla="*/ 3450660 w 6958630"/>
              <a:gd name="connsiteY20" fmla="*/ 838639 h 5352044"/>
              <a:gd name="connsiteX21" fmla="*/ 3404013 w 6958630"/>
              <a:gd name="connsiteY21" fmla="*/ 1499936 h 5352044"/>
              <a:gd name="connsiteX22" fmla="*/ 3313870 w 6958630"/>
              <a:gd name="connsiteY22" fmla="*/ 2850918 h 5352044"/>
              <a:gd name="connsiteX23" fmla="*/ 3369572 w 6958630"/>
              <a:gd name="connsiteY23" fmla="*/ 2686006 h 5352044"/>
              <a:gd name="connsiteX24" fmla="*/ 3706860 w 6958630"/>
              <a:gd name="connsiteY24" fmla="*/ 1716324 h 5352044"/>
              <a:gd name="connsiteX25" fmla="*/ 3936380 w 6958630"/>
              <a:gd name="connsiteY25" fmla="*/ 1155977 h 5352044"/>
              <a:gd name="connsiteX26" fmla="*/ 4337132 w 6958630"/>
              <a:gd name="connsiteY26" fmla="*/ 522126 h 5352044"/>
              <a:gd name="connsiteX27" fmla="*/ 4436557 w 6958630"/>
              <a:gd name="connsiteY27" fmla="*/ 425574 h 5352044"/>
              <a:gd name="connsiteX28" fmla="*/ 4508920 w 6958630"/>
              <a:gd name="connsiteY28" fmla="*/ 367382 h 5352044"/>
              <a:gd name="connsiteX29" fmla="*/ 5115640 w 6958630"/>
              <a:gd name="connsiteY29" fmla="*/ 1083845 h 5352044"/>
              <a:gd name="connsiteX30" fmla="*/ 5115018 w 6958630"/>
              <a:gd name="connsiteY30" fmla="*/ 1096653 h 5352044"/>
              <a:gd name="connsiteX31" fmla="*/ 5091987 w 6958630"/>
              <a:gd name="connsiteY31" fmla="*/ 1380611 h 5352044"/>
              <a:gd name="connsiteX32" fmla="*/ 5018983 w 6958630"/>
              <a:gd name="connsiteY32" fmla="*/ 2135554 h 5352044"/>
              <a:gd name="connsiteX33" fmla="*/ 4977834 w 6958630"/>
              <a:gd name="connsiteY33" fmla="*/ 2587648 h 5352044"/>
              <a:gd name="connsiteX34" fmla="*/ 5285289 w 6958630"/>
              <a:gd name="connsiteY34" fmla="*/ 2003389 h 5352044"/>
              <a:gd name="connsiteX35" fmla="*/ 5453822 w 6958630"/>
              <a:gd name="connsiteY35" fmla="*/ 1744212 h 5352044"/>
              <a:gd name="connsiteX36" fmla="*/ 5559908 w 6958630"/>
              <a:gd name="connsiteY36" fmla="*/ 1608472 h 5352044"/>
              <a:gd name="connsiteX37" fmla="*/ 6798419 w 6958630"/>
              <a:gd name="connsiteY37" fmla="*/ 3071005 h 5352044"/>
              <a:gd name="connsiteX38" fmla="*/ 6799849 w 6958630"/>
              <a:gd name="connsiteY38" fmla="*/ 3148467 h 5352044"/>
              <a:gd name="connsiteX39" fmla="*/ 6825478 w 6958630"/>
              <a:gd name="connsiteY39" fmla="*/ 3218437 h 5352044"/>
              <a:gd name="connsiteX40" fmla="*/ 6835906 w 6958630"/>
              <a:gd name="connsiteY40" fmla="*/ 3236811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825478 w 6958630"/>
              <a:gd name="connsiteY40" fmla="*/ 3218437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75" fmla="*/ 1996876 w 6958630"/>
              <a:gd name="connsiteY75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904383 w 6958630"/>
              <a:gd name="connsiteY40" fmla="*/ 3276626 h 5352044"/>
              <a:gd name="connsiteX41" fmla="*/ 6958630 w 6958630"/>
              <a:gd name="connsiteY41" fmla="*/ 3303366 h 5352044"/>
              <a:gd name="connsiteX42" fmla="*/ 6929041 w 6958630"/>
              <a:gd name="connsiteY42" fmla="*/ 3371333 h 5352044"/>
              <a:gd name="connsiteX43" fmla="*/ 6842183 w 6958630"/>
              <a:gd name="connsiteY43" fmla="*/ 3496813 h 5352044"/>
              <a:gd name="connsiteX44" fmla="*/ 6752598 w 6958630"/>
              <a:gd name="connsiteY44" fmla="*/ 3590980 h 5352044"/>
              <a:gd name="connsiteX45" fmla="*/ 6636435 w 6958630"/>
              <a:gd name="connsiteY45" fmla="*/ 3689350 h 5352044"/>
              <a:gd name="connsiteX46" fmla="*/ 6534262 w 6958630"/>
              <a:gd name="connsiteY46" fmla="*/ 3751543 h 5352044"/>
              <a:gd name="connsiteX47" fmla="*/ 6311623 w 6958630"/>
              <a:gd name="connsiteY47" fmla="*/ 3821071 h 5352044"/>
              <a:gd name="connsiteX48" fmla="*/ 6205393 w 6958630"/>
              <a:gd name="connsiteY48" fmla="*/ 3821425 h 5352044"/>
              <a:gd name="connsiteX49" fmla="*/ 6113794 w 6958630"/>
              <a:gd name="connsiteY49" fmla="*/ 3789856 h 5352044"/>
              <a:gd name="connsiteX50" fmla="*/ 5957763 w 6958630"/>
              <a:gd name="connsiteY50" fmla="*/ 3645087 h 5352044"/>
              <a:gd name="connsiteX51" fmla="*/ 5871500 w 6958630"/>
              <a:gd name="connsiteY51" fmla="*/ 3407024 h 5352044"/>
              <a:gd name="connsiteX52" fmla="*/ 5850157 w 6958630"/>
              <a:gd name="connsiteY52" fmla="*/ 3228802 h 5352044"/>
              <a:gd name="connsiteX53" fmla="*/ 5855735 w 6958630"/>
              <a:gd name="connsiteY53" fmla="*/ 2702379 h 5352044"/>
              <a:gd name="connsiteX54" fmla="*/ 5851694 w 6958630"/>
              <a:gd name="connsiteY54" fmla="*/ 2416140 h 5352044"/>
              <a:gd name="connsiteX55" fmla="*/ 5849753 w 6958630"/>
              <a:gd name="connsiteY55" fmla="*/ 2339220 h 5352044"/>
              <a:gd name="connsiteX56" fmla="*/ 5526775 w 6958630"/>
              <a:gd name="connsiteY56" fmla="*/ 3089687 h 5352044"/>
              <a:gd name="connsiteX57" fmla="*/ 5318032 w 6958630"/>
              <a:gd name="connsiteY57" fmla="*/ 3567460 h 5352044"/>
              <a:gd name="connsiteX58" fmla="*/ 5075333 w 6958630"/>
              <a:gd name="connsiteY58" fmla="*/ 3948996 h 5352044"/>
              <a:gd name="connsiteX59" fmla="*/ 4924556 w 6958630"/>
              <a:gd name="connsiteY59" fmla="*/ 4127219 h 5352044"/>
              <a:gd name="connsiteX60" fmla="*/ 4635048 w 6958630"/>
              <a:gd name="connsiteY60" fmla="*/ 4368343 h 5352044"/>
              <a:gd name="connsiteX61" fmla="*/ 4359931 w 6958630"/>
              <a:gd name="connsiteY61" fmla="*/ 4482250 h 5352044"/>
              <a:gd name="connsiteX62" fmla="*/ 4263401 w 6958630"/>
              <a:gd name="connsiteY62" fmla="*/ 4484960 h 5352044"/>
              <a:gd name="connsiteX63" fmla="*/ 3999117 w 6958630"/>
              <a:gd name="connsiteY63" fmla="*/ 4107900 h 5352044"/>
              <a:gd name="connsiteX64" fmla="*/ 3984242 w 6958630"/>
              <a:gd name="connsiteY64" fmla="*/ 3763234 h 5352044"/>
              <a:gd name="connsiteX65" fmla="*/ 4001623 w 6958630"/>
              <a:gd name="connsiteY65" fmla="*/ 3345301 h 5352044"/>
              <a:gd name="connsiteX66" fmla="*/ 4018520 w 6958630"/>
              <a:gd name="connsiteY66" fmla="*/ 3140220 h 5352044"/>
              <a:gd name="connsiteX67" fmla="*/ 3918918 w 6958630"/>
              <a:gd name="connsiteY67" fmla="*/ 3442952 h 5352044"/>
              <a:gd name="connsiteX68" fmla="*/ 3739925 w 6958630"/>
              <a:gd name="connsiteY68" fmla="*/ 3941692 h 5352044"/>
              <a:gd name="connsiteX69" fmla="*/ 3266332 w 6958630"/>
              <a:gd name="connsiteY69" fmla="*/ 4905602 h 5352044"/>
              <a:gd name="connsiteX70" fmla="*/ 2513418 w 6958630"/>
              <a:gd name="connsiteY70" fmla="*/ 5349452 h 5352044"/>
              <a:gd name="connsiteX71" fmla="*/ 2277187 w 6958630"/>
              <a:gd name="connsiteY71" fmla="*/ 4857072 h 5352044"/>
              <a:gd name="connsiteX72" fmla="*/ 2326260 w 6958630"/>
              <a:gd name="connsiteY72" fmla="*/ 3819775 h 5352044"/>
              <a:gd name="connsiteX73" fmla="*/ 2048658 w 6958630"/>
              <a:gd name="connsiteY73" fmla="*/ 4760224 h 5352044"/>
              <a:gd name="connsiteX74" fmla="*/ 1996876 w 6958630"/>
              <a:gd name="connsiteY74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904383 w 6958630"/>
              <a:gd name="connsiteY39" fmla="*/ 3276626 h 5352044"/>
              <a:gd name="connsiteX40" fmla="*/ 6958630 w 6958630"/>
              <a:gd name="connsiteY40" fmla="*/ 3303366 h 5352044"/>
              <a:gd name="connsiteX41" fmla="*/ 6929041 w 6958630"/>
              <a:gd name="connsiteY41" fmla="*/ 3371333 h 5352044"/>
              <a:gd name="connsiteX42" fmla="*/ 6842183 w 6958630"/>
              <a:gd name="connsiteY42" fmla="*/ 3496813 h 5352044"/>
              <a:gd name="connsiteX43" fmla="*/ 6752598 w 6958630"/>
              <a:gd name="connsiteY43" fmla="*/ 3590980 h 5352044"/>
              <a:gd name="connsiteX44" fmla="*/ 6636435 w 6958630"/>
              <a:gd name="connsiteY44" fmla="*/ 3689350 h 5352044"/>
              <a:gd name="connsiteX45" fmla="*/ 6534262 w 6958630"/>
              <a:gd name="connsiteY45" fmla="*/ 3751543 h 5352044"/>
              <a:gd name="connsiteX46" fmla="*/ 6311623 w 6958630"/>
              <a:gd name="connsiteY46" fmla="*/ 3821071 h 5352044"/>
              <a:gd name="connsiteX47" fmla="*/ 6205393 w 6958630"/>
              <a:gd name="connsiteY47" fmla="*/ 3821425 h 5352044"/>
              <a:gd name="connsiteX48" fmla="*/ 6113794 w 6958630"/>
              <a:gd name="connsiteY48" fmla="*/ 3789856 h 5352044"/>
              <a:gd name="connsiteX49" fmla="*/ 5957763 w 6958630"/>
              <a:gd name="connsiteY49" fmla="*/ 3645087 h 5352044"/>
              <a:gd name="connsiteX50" fmla="*/ 5871500 w 6958630"/>
              <a:gd name="connsiteY50" fmla="*/ 3407024 h 5352044"/>
              <a:gd name="connsiteX51" fmla="*/ 5850157 w 6958630"/>
              <a:gd name="connsiteY51" fmla="*/ 3228802 h 5352044"/>
              <a:gd name="connsiteX52" fmla="*/ 5855735 w 6958630"/>
              <a:gd name="connsiteY52" fmla="*/ 2702379 h 5352044"/>
              <a:gd name="connsiteX53" fmla="*/ 5851694 w 6958630"/>
              <a:gd name="connsiteY53" fmla="*/ 2416140 h 5352044"/>
              <a:gd name="connsiteX54" fmla="*/ 5849753 w 6958630"/>
              <a:gd name="connsiteY54" fmla="*/ 2339220 h 5352044"/>
              <a:gd name="connsiteX55" fmla="*/ 5526775 w 6958630"/>
              <a:gd name="connsiteY55" fmla="*/ 3089687 h 5352044"/>
              <a:gd name="connsiteX56" fmla="*/ 5318032 w 6958630"/>
              <a:gd name="connsiteY56" fmla="*/ 3567460 h 5352044"/>
              <a:gd name="connsiteX57" fmla="*/ 5075333 w 6958630"/>
              <a:gd name="connsiteY57" fmla="*/ 3948996 h 5352044"/>
              <a:gd name="connsiteX58" fmla="*/ 4924556 w 6958630"/>
              <a:gd name="connsiteY58" fmla="*/ 4127219 h 5352044"/>
              <a:gd name="connsiteX59" fmla="*/ 4635048 w 6958630"/>
              <a:gd name="connsiteY59" fmla="*/ 4368343 h 5352044"/>
              <a:gd name="connsiteX60" fmla="*/ 4359931 w 6958630"/>
              <a:gd name="connsiteY60" fmla="*/ 4482250 h 5352044"/>
              <a:gd name="connsiteX61" fmla="*/ 4263401 w 6958630"/>
              <a:gd name="connsiteY61" fmla="*/ 4484960 h 5352044"/>
              <a:gd name="connsiteX62" fmla="*/ 3999117 w 6958630"/>
              <a:gd name="connsiteY62" fmla="*/ 4107900 h 5352044"/>
              <a:gd name="connsiteX63" fmla="*/ 3984242 w 6958630"/>
              <a:gd name="connsiteY63" fmla="*/ 3763234 h 5352044"/>
              <a:gd name="connsiteX64" fmla="*/ 4001623 w 6958630"/>
              <a:gd name="connsiteY64" fmla="*/ 3345301 h 5352044"/>
              <a:gd name="connsiteX65" fmla="*/ 4018520 w 6958630"/>
              <a:gd name="connsiteY65" fmla="*/ 3140220 h 5352044"/>
              <a:gd name="connsiteX66" fmla="*/ 3918918 w 6958630"/>
              <a:gd name="connsiteY66" fmla="*/ 3442952 h 5352044"/>
              <a:gd name="connsiteX67" fmla="*/ 3739925 w 6958630"/>
              <a:gd name="connsiteY67" fmla="*/ 3941692 h 5352044"/>
              <a:gd name="connsiteX68" fmla="*/ 3266332 w 6958630"/>
              <a:gd name="connsiteY68" fmla="*/ 4905602 h 5352044"/>
              <a:gd name="connsiteX69" fmla="*/ 2513418 w 6958630"/>
              <a:gd name="connsiteY69" fmla="*/ 5349452 h 5352044"/>
              <a:gd name="connsiteX70" fmla="*/ 2277187 w 6958630"/>
              <a:gd name="connsiteY70" fmla="*/ 4857072 h 5352044"/>
              <a:gd name="connsiteX71" fmla="*/ 2326260 w 6958630"/>
              <a:gd name="connsiteY71" fmla="*/ 3819775 h 5352044"/>
              <a:gd name="connsiteX72" fmla="*/ 2048658 w 6958630"/>
              <a:gd name="connsiteY72" fmla="*/ 4760224 h 5352044"/>
              <a:gd name="connsiteX73" fmla="*/ 1996876 w 6958630"/>
              <a:gd name="connsiteY73" fmla="*/ 4908063 h 5352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6958630" h="5352044">
                <a:moveTo>
                  <a:pt x="1075189" y="3819662"/>
                </a:moveTo>
                <a:lnTo>
                  <a:pt x="0" y="2549993"/>
                </a:lnTo>
                <a:lnTo>
                  <a:pt x="273834" y="1601357"/>
                </a:lnTo>
                <a:cubicBezTo>
                  <a:pt x="334145" y="1401224"/>
                  <a:pt x="392071" y="1194731"/>
                  <a:pt x="455464" y="992346"/>
                </a:cubicBezTo>
                <a:lnTo>
                  <a:pt x="482058" y="912917"/>
                </a:lnTo>
                <a:lnTo>
                  <a:pt x="1560103" y="0"/>
                </a:lnTo>
                <a:lnTo>
                  <a:pt x="1563049" y="19661"/>
                </a:lnTo>
                <a:cubicBezTo>
                  <a:pt x="1562735" y="79603"/>
                  <a:pt x="1547759" y="145008"/>
                  <a:pt x="1535672" y="208675"/>
                </a:cubicBezTo>
                <a:cubicBezTo>
                  <a:pt x="1503981" y="375590"/>
                  <a:pt x="1464447" y="539089"/>
                  <a:pt x="1431946" y="705650"/>
                </a:cubicBezTo>
                <a:cubicBezTo>
                  <a:pt x="1382793" y="957376"/>
                  <a:pt x="1338086" y="1211340"/>
                  <a:pt x="1308739" y="1469663"/>
                </a:cubicBezTo>
                <a:cubicBezTo>
                  <a:pt x="1231248" y="2152398"/>
                  <a:pt x="1132111" y="2839043"/>
                  <a:pt x="1089432" y="3521397"/>
                </a:cubicBezTo>
                <a:lnTo>
                  <a:pt x="1075189" y="3819662"/>
                </a:lnTo>
                <a:close/>
                <a:moveTo>
                  <a:pt x="1996876" y="4908063"/>
                </a:moveTo>
                <a:lnTo>
                  <a:pt x="1398177" y="4201072"/>
                </a:lnTo>
                <a:lnTo>
                  <a:pt x="1590566" y="3604919"/>
                </a:lnTo>
                <a:cubicBezTo>
                  <a:pt x="1715230" y="3233985"/>
                  <a:pt x="1843451" y="2864347"/>
                  <a:pt x="1974502" y="2496593"/>
                </a:cubicBezTo>
                <a:cubicBezTo>
                  <a:pt x="2096579" y="2167829"/>
                  <a:pt x="2219221" y="1839301"/>
                  <a:pt x="2349059" y="1514660"/>
                </a:cubicBezTo>
                <a:cubicBezTo>
                  <a:pt x="2389159" y="1407350"/>
                  <a:pt x="2429178" y="1300275"/>
                  <a:pt x="2474209" y="1195792"/>
                </a:cubicBezTo>
                <a:cubicBezTo>
                  <a:pt x="2506143" y="1116870"/>
                  <a:pt x="2552548" y="1049491"/>
                  <a:pt x="2595638" y="980346"/>
                </a:cubicBezTo>
                <a:cubicBezTo>
                  <a:pt x="2735420" y="756066"/>
                  <a:pt x="2952975" y="554992"/>
                  <a:pt x="3160829" y="512585"/>
                </a:cubicBezTo>
                <a:cubicBezTo>
                  <a:pt x="3221463" y="500216"/>
                  <a:pt x="3408378" y="448388"/>
                  <a:pt x="3435866" y="585618"/>
                </a:cubicBezTo>
                <a:cubicBezTo>
                  <a:pt x="3451954" y="666424"/>
                  <a:pt x="3452762" y="752296"/>
                  <a:pt x="3450660" y="838639"/>
                </a:cubicBezTo>
                <a:cubicBezTo>
                  <a:pt x="3439018" y="1058797"/>
                  <a:pt x="3418080" y="1279661"/>
                  <a:pt x="3404013" y="1499936"/>
                </a:cubicBezTo>
                <a:cubicBezTo>
                  <a:pt x="3374990" y="1950264"/>
                  <a:pt x="3346451" y="2400472"/>
                  <a:pt x="3313870" y="2850918"/>
                </a:cubicBezTo>
                <a:cubicBezTo>
                  <a:pt x="3332222" y="2798028"/>
                  <a:pt x="3350735" y="2741958"/>
                  <a:pt x="3369572" y="2686006"/>
                </a:cubicBezTo>
                <a:cubicBezTo>
                  <a:pt x="3474752" y="2359481"/>
                  <a:pt x="3593999" y="2039316"/>
                  <a:pt x="3706860" y="1716324"/>
                </a:cubicBezTo>
                <a:cubicBezTo>
                  <a:pt x="3783340" y="1529502"/>
                  <a:pt x="3858769" y="1342092"/>
                  <a:pt x="3936380" y="1155977"/>
                </a:cubicBezTo>
                <a:cubicBezTo>
                  <a:pt x="4039217" y="901659"/>
                  <a:pt x="4175037" y="691750"/>
                  <a:pt x="4337132" y="522126"/>
                </a:cubicBezTo>
                <a:cubicBezTo>
                  <a:pt x="4369187" y="488614"/>
                  <a:pt x="4402385" y="456103"/>
                  <a:pt x="4436557" y="425574"/>
                </a:cubicBezTo>
                <a:lnTo>
                  <a:pt x="4508920" y="367382"/>
                </a:lnTo>
                <a:lnTo>
                  <a:pt x="5115640" y="1083845"/>
                </a:lnTo>
                <a:cubicBezTo>
                  <a:pt x="5115433" y="1088114"/>
                  <a:pt x="5115225" y="1092384"/>
                  <a:pt x="5115018" y="1096653"/>
                </a:cubicBezTo>
                <a:cubicBezTo>
                  <a:pt x="5108399" y="1191256"/>
                  <a:pt x="5100234" y="1285963"/>
                  <a:pt x="5091987" y="1380611"/>
                </a:cubicBezTo>
                <a:cubicBezTo>
                  <a:pt x="5067734" y="1632219"/>
                  <a:pt x="5042105" y="1883946"/>
                  <a:pt x="5018983" y="2135554"/>
                </a:cubicBezTo>
                <a:cubicBezTo>
                  <a:pt x="5005644" y="2286213"/>
                  <a:pt x="4990608" y="2436988"/>
                  <a:pt x="4977834" y="2587648"/>
                </a:cubicBezTo>
                <a:cubicBezTo>
                  <a:pt x="5067734" y="2382804"/>
                  <a:pt x="5169275" y="2185970"/>
                  <a:pt x="5285289" y="2003389"/>
                </a:cubicBezTo>
                <a:cubicBezTo>
                  <a:pt x="5338404" y="1913394"/>
                  <a:pt x="5394693" y="1826992"/>
                  <a:pt x="5453822" y="1744212"/>
                </a:cubicBezTo>
                <a:lnTo>
                  <a:pt x="5559908" y="1608472"/>
                </a:lnTo>
                <a:lnTo>
                  <a:pt x="6798419" y="3071005"/>
                </a:lnTo>
                <a:cubicBezTo>
                  <a:pt x="7022498" y="3349031"/>
                  <a:pt x="6877681" y="3237899"/>
                  <a:pt x="6904383" y="3276626"/>
                </a:cubicBezTo>
                <a:cubicBezTo>
                  <a:pt x="6931085" y="3315353"/>
                  <a:pt x="6916024" y="3277333"/>
                  <a:pt x="6958630" y="3303366"/>
                </a:cubicBezTo>
                <a:cubicBezTo>
                  <a:pt x="6951435" y="3327514"/>
                  <a:pt x="6940360" y="3349895"/>
                  <a:pt x="6929041" y="3371333"/>
                </a:cubicBezTo>
                <a:cubicBezTo>
                  <a:pt x="6903291" y="3416979"/>
                  <a:pt x="6873864" y="3458560"/>
                  <a:pt x="6842183" y="3496813"/>
                </a:cubicBezTo>
                <a:lnTo>
                  <a:pt x="6752598" y="3590980"/>
                </a:lnTo>
                <a:lnTo>
                  <a:pt x="6636435" y="3689350"/>
                </a:lnTo>
                <a:lnTo>
                  <a:pt x="6534262" y="3751543"/>
                </a:lnTo>
                <a:cubicBezTo>
                  <a:pt x="6461450" y="3788383"/>
                  <a:pt x="6386122" y="3811941"/>
                  <a:pt x="6311623" y="3821071"/>
                </a:cubicBezTo>
                <a:cubicBezTo>
                  <a:pt x="6276293" y="3821071"/>
                  <a:pt x="6240237" y="3825901"/>
                  <a:pt x="6205393" y="3821425"/>
                </a:cubicBezTo>
                <a:cubicBezTo>
                  <a:pt x="6173378" y="3816949"/>
                  <a:pt x="6144192" y="3800928"/>
                  <a:pt x="6113794" y="3789856"/>
                </a:cubicBezTo>
                <a:cubicBezTo>
                  <a:pt x="6049199" y="3766885"/>
                  <a:pt x="6001500" y="3706693"/>
                  <a:pt x="5957763" y="3645087"/>
                </a:cubicBezTo>
                <a:cubicBezTo>
                  <a:pt x="5909660" y="3583952"/>
                  <a:pt x="5886294" y="3495606"/>
                  <a:pt x="5871500" y="3407024"/>
                </a:cubicBezTo>
                <a:cubicBezTo>
                  <a:pt x="5863092" y="3348127"/>
                  <a:pt x="5850885" y="3290408"/>
                  <a:pt x="5850157" y="3228802"/>
                </a:cubicBezTo>
                <a:cubicBezTo>
                  <a:pt x="5850400" y="3053642"/>
                  <a:pt x="5852987" y="2878010"/>
                  <a:pt x="5855735" y="2702379"/>
                </a:cubicBezTo>
                <a:cubicBezTo>
                  <a:pt x="5857594" y="2606377"/>
                  <a:pt x="5854684" y="2511200"/>
                  <a:pt x="5851694" y="2416140"/>
                </a:cubicBezTo>
                <a:cubicBezTo>
                  <a:pt x="5851046" y="2390579"/>
                  <a:pt x="5850480" y="2364900"/>
                  <a:pt x="5849753" y="2339220"/>
                </a:cubicBezTo>
                <a:cubicBezTo>
                  <a:pt x="5734872" y="2584115"/>
                  <a:pt x="5634056" y="2840199"/>
                  <a:pt x="5526775" y="3089687"/>
                </a:cubicBezTo>
                <a:cubicBezTo>
                  <a:pt x="5457490" y="3249062"/>
                  <a:pt x="5393056" y="3412090"/>
                  <a:pt x="5318032" y="3567460"/>
                </a:cubicBezTo>
                <a:cubicBezTo>
                  <a:pt x="5246403" y="3703512"/>
                  <a:pt x="5166607" y="3834736"/>
                  <a:pt x="5075333" y="3948996"/>
                </a:cubicBezTo>
                <a:cubicBezTo>
                  <a:pt x="5025128" y="4008364"/>
                  <a:pt x="4978641" y="4074447"/>
                  <a:pt x="4924556" y="4127219"/>
                </a:cubicBezTo>
                <a:cubicBezTo>
                  <a:pt x="4833929" y="4221924"/>
                  <a:pt x="4736267" y="4300730"/>
                  <a:pt x="4635048" y="4368343"/>
                </a:cubicBezTo>
                <a:cubicBezTo>
                  <a:pt x="4545875" y="4421704"/>
                  <a:pt x="4453550" y="4465759"/>
                  <a:pt x="4359931" y="4482250"/>
                </a:cubicBezTo>
                <a:lnTo>
                  <a:pt x="4263401" y="4484960"/>
                </a:lnTo>
                <a:cubicBezTo>
                  <a:pt x="4105994" y="4489435"/>
                  <a:pt x="4027817" y="4304380"/>
                  <a:pt x="3999117" y="4107900"/>
                </a:cubicBezTo>
                <a:cubicBezTo>
                  <a:pt x="3982786" y="3996350"/>
                  <a:pt x="3980765" y="3880086"/>
                  <a:pt x="3984242" y="3763234"/>
                </a:cubicBezTo>
                <a:cubicBezTo>
                  <a:pt x="3985940" y="3624473"/>
                  <a:pt x="3992407" y="3485004"/>
                  <a:pt x="4001623" y="3345301"/>
                </a:cubicBezTo>
                <a:cubicBezTo>
                  <a:pt x="4006959" y="3276980"/>
                  <a:pt x="4012699" y="3208542"/>
                  <a:pt x="4018520" y="3140220"/>
                </a:cubicBezTo>
                <a:cubicBezTo>
                  <a:pt x="3985453" y="3241170"/>
                  <a:pt x="3952307" y="3342120"/>
                  <a:pt x="3918918" y="3442952"/>
                </a:cubicBezTo>
                <a:cubicBezTo>
                  <a:pt x="3863701" y="3611397"/>
                  <a:pt x="3803389" y="3777369"/>
                  <a:pt x="3739925" y="3941692"/>
                </a:cubicBezTo>
                <a:cubicBezTo>
                  <a:pt x="3602570" y="4297548"/>
                  <a:pt x="3480251" y="4629021"/>
                  <a:pt x="3266332" y="4905602"/>
                </a:cubicBezTo>
                <a:cubicBezTo>
                  <a:pt x="3060904" y="5171229"/>
                  <a:pt x="2795488" y="5377722"/>
                  <a:pt x="2513418" y="5349452"/>
                </a:cubicBezTo>
                <a:cubicBezTo>
                  <a:pt x="2339681" y="5332135"/>
                  <a:pt x="2280583" y="5075815"/>
                  <a:pt x="2277187" y="4857072"/>
                </a:cubicBezTo>
                <a:cubicBezTo>
                  <a:pt x="2271851" y="4510050"/>
                  <a:pt x="2288263" y="4162439"/>
                  <a:pt x="2326260" y="3819775"/>
                </a:cubicBezTo>
                <a:cubicBezTo>
                  <a:pt x="2310617" y="3866819"/>
                  <a:pt x="2212992" y="4271266"/>
                  <a:pt x="2048658" y="4760224"/>
                </a:cubicBezTo>
                <a:lnTo>
                  <a:pt x="1996876" y="4908063"/>
                </a:ln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Page Number">
            <a:extLst>
              <a:ext uri="{FF2B5EF4-FFF2-40B4-BE49-F238E27FC236}">
                <a16:creationId xmlns:a16="http://schemas.microsoft.com/office/drawing/2014/main" id="{B55B9341-9544-C158-D07A-111F9336852E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0CE39731-51F7-534C-C99E-3EF237C37E9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52000" y="1700808"/>
            <a:ext cx="11088001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824834-4FB9-36DE-58A3-BE0BA2340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8963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99550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ight Blu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age Number">
            <a:extLst>
              <a:ext uri="{FF2B5EF4-FFF2-40B4-BE49-F238E27FC236}">
                <a16:creationId xmlns:a16="http://schemas.microsoft.com/office/drawing/2014/main" id="{AD1E3271-5090-C512-48EF-8FBB3657A624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54999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Blue Squigg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Box">
            <a:extLst>
              <a:ext uri="{FF2B5EF4-FFF2-40B4-BE49-F238E27FC236}">
                <a16:creationId xmlns:a16="http://schemas.microsoft.com/office/drawing/2014/main" id="{20D1D068-8642-4E0E-61F9-86262A4F54E3}"/>
              </a:ext>
            </a:extLst>
          </p:cNvPr>
          <p:cNvSpPr/>
          <p:nvPr/>
        </p:nvSpPr>
        <p:spPr bwMode="white">
          <a:xfrm>
            <a:off x="0" y="2006601"/>
            <a:ext cx="6096000" cy="4851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1" name="Squiggle">
            <a:extLst>
              <a:ext uri="{FF2B5EF4-FFF2-40B4-BE49-F238E27FC236}">
                <a16:creationId xmlns:a16="http://schemas.microsoft.com/office/drawing/2014/main" id="{9A328A6D-FD87-898A-9B1A-71C3E60F33FF}"/>
              </a:ext>
            </a:extLst>
          </p:cNvPr>
          <p:cNvSpPr/>
          <p:nvPr/>
        </p:nvSpPr>
        <p:spPr bwMode="invGray">
          <a:xfrm rot="7815528">
            <a:off x="-837800" y="-132284"/>
            <a:ext cx="9817614" cy="7561373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04182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Box">
            <a:extLst>
              <a:ext uri="{FF2B5EF4-FFF2-40B4-BE49-F238E27FC236}">
                <a16:creationId xmlns:a16="http://schemas.microsoft.com/office/drawing/2014/main" id="{20D1D068-8642-4E0E-61F9-86262A4F54E3}"/>
              </a:ext>
            </a:extLst>
          </p:cNvPr>
          <p:cNvSpPr/>
          <p:nvPr/>
        </p:nvSpPr>
        <p:spPr bwMode="white">
          <a:xfrm>
            <a:off x="0" y="2006601"/>
            <a:ext cx="6096000" cy="4851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1" name="Squiggle">
            <a:extLst>
              <a:ext uri="{FF2B5EF4-FFF2-40B4-BE49-F238E27FC236}">
                <a16:creationId xmlns:a16="http://schemas.microsoft.com/office/drawing/2014/main" id="{9A328A6D-FD87-898A-9B1A-71C3E60F33FF}"/>
              </a:ext>
            </a:extLst>
          </p:cNvPr>
          <p:cNvSpPr/>
          <p:nvPr/>
        </p:nvSpPr>
        <p:spPr bwMode="invGray">
          <a:xfrm rot="7815528">
            <a:off x="-837800" y="-132284"/>
            <a:ext cx="9817614" cy="7561373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8EF30D9B-1CE5-162E-5F5B-B41EF638673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2000" y="1700808"/>
            <a:ext cx="11088001" cy="43200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800" baseline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800" baseline="0">
                <a:solidFill>
                  <a:schemeClr val="tx1"/>
                </a:solidFill>
              </a:defRPr>
            </a:lvl2pPr>
            <a:lvl3pPr>
              <a:defRPr sz="1800" baseline="0">
                <a:solidFill>
                  <a:schemeClr val="tx1"/>
                </a:solidFill>
              </a:defRPr>
            </a:lvl3pPr>
            <a:lvl4pPr>
              <a:defRPr sz="1600" baseline="0">
                <a:solidFill>
                  <a:schemeClr val="tx1"/>
                </a:solidFill>
              </a:defRPr>
            </a:lvl4pPr>
            <a:lvl5pPr>
              <a:defRPr sz="1800" baseline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buAutoNum type="alphaLcParenR"/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3757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radient Box">
            <a:extLst>
              <a:ext uri="{FF2B5EF4-FFF2-40B4-BE49-F238E27FC236}">
                <a16:creationId xmlns:a16="http://schemas.microsoft.com/office/drawing/2014/main" id="{5FA2F412-DAB1-79A8-EE6D-856B95DA3CE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2087821"/>
            <a:ext cx="6096000" cy="4770179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Squiggle">
            <a:extLst>
              <a:ext uri="{FF2B5EF4-FFF2-40B4-BE49-F238E27FC236}">
                <a16:creationId xmlns:a16="http://schemas.microsoft.com/office/drawing/2014/main" id="{47F53373-D50B-883E-FDDA-7108820460D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089" t="12023" r="24259" b="38040"/>
          <a:stretch/>
        </p:blipFill>
        <p:spPr>
          <a:xfrm>
            <a:off x="0" y="2053095"/>
            <a:ext cx="6096000" cy="4770179"/>
          </a:xfrm>
          <a:prstGeom prst="rect">
            <a:avLst/>
          </a:prstGeom>
        </p:spPr>
      </p:pic>
      <p:sp>
        <p:nvSpPr>
          <p:cNvPr id="13" name="Content">
            <a:extLst>
              <a:ext uri="{FF2B5EF4-FFF2-40B4-BE49-F238E27FC236}">
                <a16:creationId xmlns:a16="http://schemas.microsoft.com/office/drawing/2014/main" id="{29AFB3F8-FA85-8CE0-015D-62EB0BF10F3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88000" y="2053095"/>
            <a:ext cx="5040000" cy="39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400"/>
              </a:spcBef>
              <a:spcAft>
                <a:spcPts val="0"/>
              </a:spcAft>
              <a:defRPr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Tx/>
              <a:buNone/>
              <a:defRPr sz="1200"/>
            </a:lvl2pPr>
            <a:lvl3pPr marL="180000" indent="-180000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200"/>
            </a:lvl3pPr>
            <a:lvl4pPr marL="360000" indent="-180000">
              <a:spcBef>
                <a:spcPts val="0"/>
              </a:spcBef>
              <a:spcAft>
                <a:spcPts val="300"/>
              </a:spcAft>
              <a:defRPr sz="1200"/>
            </a:lvl4pPr>
            <a:lvl5pPr>
              <a:spcAft>
                <a:spcPts val="3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DF4F03E-3E76-8B40-7DFE-45514CEB5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700811"/>
            <a:ext cx="8640000" cy="974626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0779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15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">
            <a:extLst>
              <a:ext uri="{FF2B5EF4-FFF2-40B4-BE49-F238E27FC236}">
                <a16:creationId xmlns:a16="http://schemas.microsoft.com/office/drawing/2014/main" id="{29AFB3F8-FA85-8CE0-015D-62EB0BF10F3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88000" y="2053095"/>
            <a:ext cx="5040000" cy="39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400"/>
              </a:spcBef>
              <a:spcAft>
                <a:spcPts val="0"/>
              </a:spcAft>
              <a:defRPr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Tx/>
              <a:buNone/>
              <a:defRPr sz="1200">
                <a:solidFill>
                  <a:schemeClr val="tx1"/>
                </a:solidFill>
              </a:defRPr>
            </a:lvl2pPr>
            <a:lvl3pPr marL="180000" indent="-180000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360000" indent="-180000">
              <a:spcBef>
                <a:spcPts val="0"/>
              </a:spcBef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DF4F03E-3E76-8B40-7DFE-45514CEB5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700811"/>
            <a:ext cx="8639999" cy="974626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7ADB17EC-3535-10B4-EA22-3FF7B2394167}"/>
              </a:ext>
            </a:extLst>
          </p:cNvPr>
          <p:cNvSpPr/>
          <p:nvPr/>
        </p:nvSpPr>
        <p:spPr bwMode="invGray">
          <a:xfrm rot="7860000">
            <a:off x="-623711" y="1951769"/>
            <a:ext cx="6944766" cy="5297390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2898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quiggle">
            <a:extLst>
              <a:ext uri="{FF2B5EF4-FFF2-40B4-BE49-F238E27FC236}">
                <a16:creationId xmlns:a16="http://schemas.microsoft.com/office/drawing/2014/main" id="{EDD39493-F2CF-026A-6F49-50AB1BFEF1DE}"/>
              </a:ext>
            </a:extLst>
          </p:cNvPr>
          <p:cNvSpPr/>
          <p:nvPr/>
        </p:nvSpPr>
        <p:spPr bwMode="invGray">
          <a:xfrm rot="7860000">
            <a:off x="-623711" y="1951769"/>
            <a:ext cx="6944766" cy="5297390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C2BE0690-F2BB-4B76-BB0D-557C7721AAB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0" y="2053095"/>
            <a:ext cx="5545200" cy="3960000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59308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B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B4BF50-2D1E-CA40-0FB2-36E1EA6BA1F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3429000"/>
            <a:ext cx="7283937" cy="3429000"/>
          </a:xfrm>
          <a:prstGeom prst="rect">
            <a:avLst/>
          </a:prstGeom>
          <a:gradFill flip="none" rotWithShape="1">
            <a:gsLst>
              <a:gs pos="100000">
                <a:srgbClr val="538FFF"/>
              </a:gs>
              <a:gs pos="0">
                <a:schemeClr val="accent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5DA475-FB71-0BBA-510C-ADB2FD2DA1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069" t="47897" r="25456" b="37789"/>
          <a:stretch/>
        </p:blipFill>
        <p:spPr>
          <a:xfrm>
            <a:off x="0" y="3429000"/>
            <a:ext cx="7283938" cy="3429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E932EFA-8AA8-BF3A-8E90-B96BE7D6C80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910856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C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22BBFAD-E787-8011-D4CF-33339EB6A037}"/>
              </a:ext>
            </a:extLst>
          </p:cNvPr>
          <p:cNvGrpSpPr/>
          <p:nvPr/>
        </p:nvGrpSpPr>
        <p:grpSpPr>
          <a:xfrm>
            <a:off x="0" y="3429000"/>
            <a:ext cx="7283939" cy="3429000"/>
            <a:chOff x="0" y="3429000"/>
            <a:chExt cx="7283939" cy="3429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D016B5D-D24E-9CB9-D617-AD70A2A126D8}"/>
                </a:ext>
              </a:extLst>
            </p:cNvPr>
            <p:cNvSpPr/>
            <p:nvPr/>
          </p:nvSpPr>
          <p:spPr>
            <a:xfrm>
              <a:off x="0" y="3429000"/>
              <a:ext cx="7283938" cy="3429000"/>
            </a:xfrm>
            <a:prstGeom prst="rect">
              <a:avLst/>
            </a:prstGeom>
            <a:gradFill flip="none" rotWithShape="1"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F2AA39B-CCCF-C240-23CB-DE7BB92736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90" t="31180" r="17841" b="39499"/>
            <a:stretch/>
          </p:blipFill>
          <p:spPr>
            <a:xfrm>
              <a:off x="1" y="3429000"/>
              <a:ext cx="7283938" cy="3428999"/>
            </a:xfrm>
            <a:prstGeom prst="rect">
              <a:avLst/>
            </a:prstGeom>
            <a:gradFill>
              <a:gsLst>
                <a:gs pos="100000">
                  <a:schemeClr val="accent4"/>
                </a:gs>
                <a:gs pos="15000">
                  <a:schemeClr val="accent5"/>
                </a:gs>
              </a:gsLst>
              <a:lin ang="18900000" scaled="0"/>
            </a:gradFill>
          </p:spPr>
        </p:pic>
      </p:grp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7998FA82-AE58-DF57-EE9E-73FF8FEAD9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99410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ogo">
            <a:extLst>
              <a:ext uri="{FF2B5EF4-FFF2-40B4-BE49-F238E27FC236}">
                <a16:creationId xmlns:a16="http://schemas.microsoft.com/office/drawing/2014/main" id="{71EC193D-CC43-15CD-831C-49F8CD8C16BD}"/>
              </a:ext>
            </a:extLst>
          </p:cNvPr>
          <p:cNvSpPr>
            <a:spLocks/>
          </p:cNvSpPr>
          <p:nvPr/>
        </p:nvSpPr>
        <p:spPr bwMode="black">
          <a:xfrm>
            <a:off x="9211095" y="767925"/>
            <a:ext cx="2442107" cy="660400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Blue Block">
            <a:extLst>
              <a:ext uri="{FF2B5EF4-FFF2-40B4-BE49-F238E27FC236}">
                <a16:creationId xmlns:a16="http://schemas.microsoft.com/office/drawing/2014/main" id="{D00D9B82-CF9A-0D93-6F46-B6D1542878BF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BBD3EDA2-78B7-6B49-D40E-E33D2D383B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DD0DF77D-FC8F-101B-4675-31AF887AF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75462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BB9FD7F-5FBF-985A-0063-937C8E3ACAB9}"/>
              </a:ext>
            </a:extLst>
          </p:cNvPr>
          <p:cNvGrpSpPr/>
          <p:nvPr/>
        </p:nvGrpSpPr>
        <p:grpSpPr>
          <a:xfrm>
            <a:off x="0" y="3429000"/>
            <a:ext cx="7288438" cy="3429000"/>
            <a:chOff x="19894" y="7414846"/>
            <a:chExt cx="7288438" cy="3429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01F38A6-A653-4D8B-F6B4-8CC75E37B668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19894" y="7414846"/>
              <a:ext cx="7288437" cy="3429000"/>
            </a:xfrm>
            <a:prstGeom prst="rect">
              <a:avLst/>
            </a:prstGeom>
            <a:gradFill flip="none" rotWithShape="1">
              <a:gsLst>
                <a:gs pos="100000">
                  <a:schemeClr val="accent2"/>
                </a:gs>
                <a:gs pos="1000">
                  <a:schemeClr val="accent6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DF7126E-93D4-E0D7-3AC2-EACA70BF87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2310" t="53061" r="11726" b="7052"/>
            <a:stretch/>
          </p:blipFill>
          <p:spPr>
            <a:xfrm>
              <a:off x="19894" y="7414846"/>
              <a:ext cx="7288438" cy="3429000"/>
            </a:xfrm>
            <a:prstGeom prst="rect">
              <a:avLst/>
            </a:prstGeom>
          </p:spPr>
        </p:pic>
      </p:grp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9D3DA5B8-F575-6DF1-AC3B-8C7584D5B6D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38816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D7B03C3-5872-48EE-C266-2FF14E1A1C68}"/>
              </a:ext>
            </a:extLst>
          </p:cNvPr>
          <p:cNvGrpSpPr/>
          <p:nvPr/>
        </p:nvGrpSpPr>
        <p:grpSpPr>
          <a:xfrm>
            <a:off x="0" y="3429000"/>
            <a:ext cx="7288438" cy="3429000"/>
            <a:chOff x="0" y="3429000"/>
            <a:chExt cx="7288438" cy="3429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5038A97-5369-6B5D-5B6A-EB11A293CCF8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1" y="3429000"/>
              <a:ext cx="7288437" cy="3429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DA01EF1-C789-CE8A-1295-17E3F74881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9391" t="46740" r="25927" b="25063"/>
            <a:stretch/>
          </p:blipFill>
          <p:spPr>
            <a:xfrm>
              <a:off x="0" y="3465513"/>
              <a:ext cx="7288438" cy="3392487"/>
            </a:xfrm>
            <a:prstGeom prst="rect">
              <a:avLst/>
            </a:prstGeom>
          </p:spPr>
        </p:pic>
      </p:grp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28112D3A-C423-0B68-D701-2CC0D24291C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540414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Block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ght Blue Background Box">
            <a:extLst>
              <a:ext uri="{FF2B5EF4-FFF2-40B4-BE49-F238E27FC236}">
                <a16:creationId xmlns:a16="http://schemas.microsoft.com/office/drawing/2014/main" id="{B7DAB3D9-5015-A550-69A8-D68640397954}"/>
              </a:ext>
            </a:extLst>
          </p:cNvPr>
          <p:cNvSpPr/>
          <p:nvPr/>
        </p:nvSpPr>
        <p:spPr bwMode="white">
          <a:xfrm>
            <a:off x="6096000" y="0"/>
            <a:ext cx="6096000" cy="6857999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PT" sz="1600">
              <a:solidFill>
                <a:schemeClr val="tx1"/>
              </a:solidFill>
            </a:endParaRPr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E753F8DB-9E85-600E-CE65-6F0B5FAE55C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5880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4" name="Title plus Content">
            <a:extLst>
              <a:ext uri="{FF2B5EF4-FFF2-40B4-BE49-F238E27FC236}">
                <a16:creationId xmlns:a16="http://schemas.microsoft.com/office/drawing/2014/main" id="{862DF7A4-F6DA-E5F4-FDC2-DC9F260060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94274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92343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35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ock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ght Blue Background Box">
            <a:extLst>
              <a:ext uri="{FF2B5EF4-FFF2-40B4-BE49-F238E27FC236}">
                <a16:creationId xmlns:a16="http://schemas.microsoft.com/office/drawing/2014/main" id="{62DAFB2D-A6FA-E0E3-2171-2DD3336F39B2}"/>
              </a:ext>
            </a:extLst>
          </p:cNvPr>
          <p:cNvSpPr/>
          <p:nvPr/>
        </p:nvSpPr>
        <p:spPr bwMode="white">
          <a:xfrm>
            <a:off x="0" y="-1"/>
            <a:ext cx="6096000" cy="6857999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PT" sz="1600">
              <a:solidFill>
                <a:schemeClr val="tx1"/>
              </a:solidFill>
            </a:endParaRPr>
          </a:p>
        </p:txBody>
      </p:sp>
      <p:sp>
        <p:nvSpPr>
          <p:cNvPr id="9" name="Content">
            <a:extLst>
              <a:ext uri="{FF2B5EF4-FFF2-40B4-BE49-F238E27FC236}">
                <a16:creationId xmlns:a16="http://schemas.microsoft.com/office/drawing/2014/main" id="{D4D98A6F-CCDA-3034-9A95-2A26056495A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508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2" name="Title plus Content">
            <a:extLst>
              <a:ext uri="{FF2B5EF4-FFF2-40B4-BE49-F238E27FC236}">
                <a16:creationId xmlns:a16="http://schemas.microsoft.com/office/drawing/2014/main" id="{F7F8A338-A00D-2699-2172-8897CB3F038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2967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3922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Block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ght Blue Background Box">
            <a:extLst>
              <a:ext uri="{FF2B5EF4-FFF2-40B4-BE49-F238E27FC236}">
                <a16:creationId xmlns:a16="http://schemas.microsoft.com/office/drawing/2014/main" id="{32688E28-A7F8-F719-86CF-44D80A540EE8}"/>
              </a:ext>
            </a:extLst>
          </p:cNvPr>
          <p:cNvSpPr/>
          <p:nvPr/>
        </p:nvSpPr>
        <p:spPr bwMode="white">
          <a:xfrm>
            <a:off x="6096000" y="0"/>
            <a:ext cx="6096000" cy="6857998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PT" sz="1600">
              <a:solidFill>
                <a:schemeClr val="tx1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5B97292-EA86-FEC6-A22B-B5948F7131E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6000" y="0"/>
            <a:ext cx="6096000" cy="6857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plus Content">
            <a:extLst>
              <a:ext uri="{FF2B5EF4-FFF2-40B4-BE49-F238E27FC236}">
                <a16:creationId xmlns:a16="http://schemas.microsoft.com/office/drawing/2014/main" id="{AB6C8F20-9432-0223-5EEF-ECC8F9BD8F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94274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5327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ock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ght BLue Background Box">
            <a:extLst>
              <a:ext uri="{FF2B5EF4-FFF2-40B4-BE49-F238E27FC236}">
                <a16:creationId xmlns:a16="http://schemas.microsoft.com/office/drawing/2014/main" id="{62DAFB2D-A6FA-E0E3-2171-2DD3336F39B2}"/>
              </a:ext>
            </a:extLst>
          </p:cNvPr>
          <p:cNvSpPr/>
          <p:nvPr/>
        </p:nvSpPr>
        <p:spPr bwMode="white">
          <a:xfrm>
            <a:off x="0" y="-1"/>
            <a:ext cx="6096000" cy="6857998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PT" sz="1600">
              <a:solidFill>
                <a:schemeClr val="tx1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9D1692-EEFD-88EA-AC78-9DA3A4D838A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6096000" cy="6857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itle plus Content">
            <a:extLst>
              <a:ext uri="{FF2B5EF4-FFF2-40B4-BE49-F238E27FC236}">
                <a16:creationId xmlns:a16="http://schemas.microsoft.com/office/drawing/2014/main" id="{C3FF2256-8276-CD87-E590-0FA57F8D987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2967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34891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ock, Centr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4884C31-EC1F-A70F-FF1B-C8B8710346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Content">
            <a:extLst>
              <a:ext uri="{FF2B5EF4-FFF2-40B4-BE49-F238E27FC236}">
                <a16:creationId xmlns:a16="http://schemas.microsoft.com/office/drawing/2014/main" id="{3D200662-34CE-CF6E-6DAA-5C1324553BB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508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Title plus Content">
            <a:extLst>
              <a:ext uri="{FF2B5EF4-FFF2-40B4-BE49-F238E27FC236}">
                <a16:creationId xmlns:a16="http://schemas.microsoft.com/office/drawing/2014/main" id="{233A3AAD-F3AF-F8C3-E336-494A20B9CF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29678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>
                <a:solidFill>
                  <a:schemeClr val="tx1"/>
                </a:solidFill>
              </a:defRPr>
            </a:lvl4pPr>
            <a:lvl5pPr marL="252000" indent="-252000">
              <a:spcBef>
                <a:spcPts val="12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800" b="0">
                <a:solidFill>
                  <a:schemeClr val="bg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8pPr>
            <a:lvl9pPr>
              <a:defRPr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17294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Block, Centr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4884C31-EC1F-A70F-FF1B-C8B8710346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Content">
            <a:extLst>
              <a:ext uri="{FF2B5EF4-FFF2-40B4-BE49-F238E27FC236}">
                <a16:creationId xmlns:a16="http://schemas.microsoft.com/office/drawing/2014/main" id="{87DC4C0B-4914-F9BB-BD66-CA2329654CB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5880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430A964F-5F10-6427-5339-C3BF17997CB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0" y="2429678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>
                <a:solidFill>
                  <a:schemeClr val="tx1"/>
                </a:solidFill>
              </a:defRPr>
            </a:lvl4pPr>
            <a:lvl5pPr marL="252000" indent="-252000">
              <a:spcBef>
                <a:spcPts val="12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800" b="0">
                <a:solidFill>
                  <a:schemeClr val="bg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8pPr>
            <a:lvl9pPr>
              <a:defRPr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5007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Title and Content with Swoo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quiggle">
            <a:extLst>
              <a:ext uri="{FF2B5EF4-FFF2-40B4-BE49-F238E27FC236}">
                <a16:creationId xmlns:a16="http://schemas.microsoft.com/office/drawing/2014/main" id="{00171972-DAD9-4461-D642-9E70587F1676}"/>
              </a:ext>
            </a:extLst>
          </p:cNvPr>
          <p:cNvSpPr/>
          <p:nvPr/>
        </p:nvSpPr>
        <p:spPr>
          <a:xfrm rot="440875">
            <a:off x="-195795" y="260446"/>
            <a:ext cx="12711259" cy="7374027"/>
          </a:xfrm>
          <a:custGeom>
            <a:avLst/>
            <a:gdLst>
              <a:gd name="connsiteX0" fmla="*/ 9701292 w 12711259"/>
              <a:gd name="connsiteY0" fmla="*/ 4999293 h 7374027"/>
              <a:gd name="connsiteX1" fmla="*/ 10349337 w 12711259"/>
              <a:gd name="connsiteY1" fmla="*/ 5865741 h 7374027"/>
              <a:gd name="connsiteX2" fmla="*/ 10354937 w 12711259"/>
              <a:gd name="connsiteY2" fmla="*/ 6113237 h 7374027"/>
              <a:gd name="connsiteX3" fmla="*/ 7871504 w 12711259"/>
              <a:gd name="connsiteY3" fmla="*/ 6434879 h 7374027"/>
              <a:gd name="connsiteX4" fmla="*/ 8130301 w 12711259"/>
              <a:gd name="connsiteY4" fmla="*/ 6165073 h 7374027"/>
              <a:gd name="connsiteX5" fmla="*/ 8586391 w 12711259"/>
              <a:gd name="connsiteY5" fmla="*/ 5725947 h 7374027"/>
              <a:gd name="connsiteX6" fmla="*/ 8542688 w 12711259"/>
              <a:gd name="connsiteY6" fmla="*/ 5767387 h 7374027"/>
              <a:gd name="connsiteX7" fmla="*/ 9701292 w 12711259"/>
              <a:gd name="connsiteY7" fmla="*/ 4999293 h 7374027"/>
              <a:gd name="connsiteX8" fmla="*/ 12556234 w 12711259"/>
              <a:gd name="connsiteY8" fmla="*/ 4605882 h 7374027"/>
              <a:gd name="connsiteX9" fmla="*/ 12711259 w 12711259"/>
              <a:gd name="connsiteY9" fmla="*/ 5808059 h 7374027"/>
              <a:gd name="connsiteX10" fmla="*/ 10948599 w 12711259"/>
              <a:gd name="connsiteY10" fmla="*/ 6036348 h 7374027"/>
              <a:gd name="connsiteX11" fmla="*/ 10995446 w 12711259"/>
              <a:gd name="connsiteY11" fmla="*/ 5971853 h 7374027"/>
              <a:gd name="connsiteX12" fmla="*/ 12509398 w 12711259"/>
              <a:gd name="connsiteY12" fmla="*/ 4619614 h 7374027"/>
              <a:gd name="connsiteX13" fmla="*/ 4089853 w 12711259"/>
              <a:gd name="connsiteY13" fmla="*/ 0 h 7374027"/>
              <a:gd name="connsiteX14" fmla="*/ 4032572 w 12711259"/>
              <a:gd name="connsiteY14" fmla="*/ 208780 h 7374027"/>
              <a:gd name="connsiteX15" fmla="*/ 3110385 w 12711259"/>
              <a:gd name="connsiteY15" fmla="*/ 5050887 h 7374027"/>
              <a:gd name="connsiteX16" fmla="*/ 5214964 w 12711259"/>
              <a:gd name="connsiteY16" fmla="*/ 6484237 h 7374027"/>
              <a:gd name="connsiteX17" fmla="*/ 5130975 w 12711259"/>
              <a:gd name="connsiteY17" fmla="*/ 6789819 h 7374027"/>
              <a:gd name="connsiteX18" fmla="*/ 620243 w 12711259"/>
              <a:gd name="connsiteY18" fmla="*/ 7374027 h 7374027"/>
              <a:gd name="connsiteX19" fmla="*/ 595618 w 12711259"/>
              <a:gd name="connsiteY19" fmla="*/ 7183063 h 7374027"/>
              <a:gd name="connsiteX20" fmla="*/ 643367 w 12711259"/>
              <a:gd name="connsiteY20" fmla="*/ 6815536 h 7374027"/>
              <a:gd name="connsiteX21" fmla="*/ 1874812 w 12711259"/>
              <a:gd name="connsiteY21" fmla="*/ 1239581 h 7374027"/>
              <a:gd name="connsiteX22" fmla="*/ 592446 w 12711259"/>
              <a:gd name="connsiteY22" fmla="*/ 3773236 h 7374027"/>
              <a:gd name="connsiteX23" fmla="*/ 252389 w 12711259"/>
              <a:gd name="connsiteY23" fmla="*/ 4521405 h 7374027"/>
              <a:gd name="connsiteX24" fmla="*/ 0 w 12711259"/>
              <a:gd name="connsiteY24" fmla="*/ 2564185 h 7374027"/>
              <a:gd name="connsiteX25" fmla="*/ 286966 w 12711259"/>
              <a:gd name="connsiteY25" fmla="*/ 2061285 h 7374027"/>
              <a:gd name="connsiteX26" fmla="*/ 1294415 w 12711259"/>
              <a:gd name="connsiteY26" fmla="*/ 424798 h 7374027"/>
              <a:gd name="connsiteX27" fmla="*/ 1340058 w 12711259"/>
              <a:gd name="connsiteY27" fmla="*/ 356138 h 7374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711259" h="7374027">
                <a:moveTo>
                  <a:pt x="9701292" y="4999293"/>
                </a:moveTo>
                <a:cubicBezTo>
                  <a:pt x="10102115" y="4956977"/>
                  <a:pt x="10311719" y="5310803"/>
                  <a:pt x="10349337" y="5865741"/>
                </a:cubicBezTo>
                <a:lnTo>
                  <a:pt x="10354937" y="6113237"/>
                </a:lnTo>
                <a:lnTo>
                  <a:pt x="7871504" y="6434879"/>
                </a:lnTo>
                <a:lnTo>
                  <a:pt x="8130301" y="6165073"/>
                </a:lnTo>
                <a:cubicBezTo>
                  <a:pt x="8279037" y="6015936"/>
                  <a:pt x="8431002" y="5869496"/>
                  <a:pt x="8586391" y="5725947"/>
                </a:cubicBezTo>
                <a:lnTo>
                  <a:pt x="8542688" y="5767387"/>
                </a:lnTo>
                <a:cubicBezTo>
                  <a:pt x="9031123" y="5261858"/>
                  <a:pt x="9414988" y="5029518"/>
                  <a:pt x="9701292" y="4999293"/>
                </a:cubicBezTo>
                <a:close/>
                <a:moveTo>
                  <a:pt x="12556234" y="4605882"/>
                </a:moveTo>
                <a:lnTo>
                  <a:pt x="12711259" y="5808059"/>
                </a:lnTo>
                <a:lnTo>
                  <a:pt x="10948599" y="6036348"/>
                </a:lnTo>
                <a:lnTo>
                  <a:pt x="10995446" y="5971853"/>
                </a:lnTo>
                <a:cubicBezTo>
                  <a:pt x="11423632" y="5393813"/>
                  <a:pt x="11894510" y="4843458"/>
                  <a:pt x="12509398" y="4619614"/>
                </a:cubicBezTo>
                <a:close/>
                <a:moveTo>
                  <a:pt x="4089853" y="0"/>
                </a:moveTo>
                <a:lnTo>
                  <a:pt x="4032572" y="208780"/>
                </a:lnTo>
                <a:cubicBezTo>
                  <a:pt x="3477322" y="2228129"/>
                  <a:pt x="2859788" y="4443395"/>
                  <a:pt x="3110385" y="5050887"/>
                </a:cubicBezTo>
                <a:cubicBezTo>
                  <a:pt x="6202762" y="1120562"/>
                  <a:pt x="6073909" y="3270086"/>
                  <a:pt x="5214964" y="6484237"/>
                </a:cubicBezTo>
                <a:lnTo>
                  <a:pt x="5130975" y="6789819"/>
                </a:lnTo>
                <a:lnTo>
                  <a:pt x="620243" y="7374027"/>
                </a:lnTo>
                <a:lnTo>
                  <a:pt x="595618" y="7183063"/>
                </a:lnTo>
                <a:lnTo>
                  <a:pt x="643367" y="6815536"/>
                </a:lnTo>
                <a:cubicBezTo>
                  <a:pt x="932082" y="4762876"/>
                  <a:pt x="1606054" y="2200633"/>
                  <a:pt x="1874812" y="1239581"/>
                </a:cubicBezTo>
                <a:cubicBezTo>
                  <a:pt x="1415408" y="2068758"/>
                  <a:pt x="993356" y="2915911"/>
                  <a:pt x="592446" y="3773236"/>
                </a:cubicBezTo>
                <a:lnTo>
                  <a:pt x="252389" y="4521405"/>
                </a:lnTo>
                <a:lnTo>
                  <a:pt x="0" y="2564185"/>
                </a:lnTo>
                <a:lnTo>
                  <a:pt x="286966" y="2061285"/>
                </a:lnTo>
                <a:cubicBezTo>
                  <a:pt x="616643" y="1494520"/>
                  <a:pt x="955203" y="944905"/>
                  <a:pt x="1294415" y="424798"/>
                </a:cubicBezTo>
                <a:lnTo>
                  <a:pt x="1340058" y="356138"/>
                </a:ln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117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3" name="Page Number">
            <a:extLst>
              <a:ext uri="{FF2B5EF4-FFF2-40B4-BE49-F238E27FC236}">
                <a16:creationId xmlns:a16="http://schemas.microsoft.com/office/drawing/2014/main" id="{34F5AC4A-6FD4-AE1B-DE83-4DA75E86F5DC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Content">
            <a:extLst>
              <a:ext uri="{FF2B5EF4-FFF2-40B4-BE49-F238E27FC236}">
                <a16:creationId xmlns:a16="http://schemas.microsoft.com/office/drawing/2014/main" id="{81404B19-3C29-F557-1857-9D5B937FCD7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5880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Title plus Content">
            <a:extLst>
              <a:ext uri="{FF2B5EF4-FFF2-40B4-BE49-F238E27FC236}">
                <a16:creationId xmlns:a16="http://schemas.microsoft.com/office/drawing/2014/main" id="{45EBC170-48B0-4CF4-F8CC-B91B703AAB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70665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25501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0" pos="4158">
          <p15:clr>
            <a:srgbClr val="FBAE40"/>
          </p15:clr>
        </p15:guide>
        <p15:guide id="11" pos="352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Right 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us Content">
            <a:extLst>
              <a:ext uri="{FF2B5EF4-FFF2-40B4-BE49-F238E27FC236}">
                <a16:creationId xmlns:a16="http://schemas.microsoft.com/office/drawing/2014/main" id="{61C9325A-143B-C086-CC26-A49B2A34A1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70665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ounded box shadow 15.4cm">
            <a:extLst>
              <a:ext uri="{FF2B5EF4-FFF2-40B4-BE49-F238E27FC236}">
                <a16:creationId xmlns:a16="http://schemas.microsoft.com/office/drawing/2014/main" id="{F9324273-5E02-E384-973C-BEB9B03CD9EB}"/>
              </a:ext>
            </a:extLst>
          </p:cNvPr>
          <p:cNvSpPr>
            <a:spLocks/>
          </p:cNvSpPr>
          <p:nvPr/>
        </p:nvSpPr>
        <p:spPr>
          <a:xfrm>
            <a:off x="6096000" y="1701000"/>
            <a:ext cx="5544000" cy="3456000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2762336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352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lue Block">
            <a:extLst>
              <a:ext uri="{FF2B5EF4-FFF2-40B4-BE49-F238E27FC236}">
                <a16:creationId xmlns:a16="http://schemas.microsoft.com/office/drawing/2014/main" id="{12453F8B-CE7E-AFE0-3462-35D246540372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0738DAB-25E3-9346-CA31-170E03F8D7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219280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Left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box shadow 15.4cm">
            <a:extLst>
              <a:ext uri="{FF2B5EF4-FFF2-40B4-BE49-F238E27FC236}">
                <a16:creationId xmlns:a16="http://schemas.microsoft.com/office/drawing/2014/main" id="{71AA9E56-2169-4EE4-DECA-A5FE2400A7DC}"/>
              </a:ext>
            </a:extLst>
          </p:cNvPr>
          <p:cNvSpPr>
            <a:spLocks/>
          </p:cNvSpPr>
          <p:nvPr/>
        </p:nvSpPr>
        <p:spPr>
          <a:xfrm>
            <a:off x="550800" y="1701000"/>
            <a:ext cx="5545200" cy="3456000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4" name="Title plus Content">
            <a:extLst>
              <a:ext uri="{FF2B5EF4-FFF2-40B4-BE49-F238E27FC236}">
                <a16:creationId xmlns:a16="http://schemas.microsoft.com/office/drawing/2014/main" id="{9AB75B78-866E-BD40-6649-790407DDB03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0606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93048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Left larg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box full half">
            <a:extLst>
              <a:ext uri="{FF2B5EF4-FFF2-40B4-BE49-F238E27FC236}">
                <a16:creationId xmlns:a16="http://schemas.microsoft.com/office/drawing/2014/main" id="{3A8205A9-953F-940D-2D52-F3823977D145}"/>
              </a:ext>
            </a:extLst>
          </p:cNvPr>
          <p:cNvSpPr>
            <a:spLocks/>
          </p:cNvSpPr>
          <p:nvPr/>
        </p:nvSpPr>
        <p:spPr>
          <a:xfrm>
            <a:off x="6096000" y="836613"/>
            <a:ext cx="5544000" cy="5184775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7" name="Title plus Content">
            <a:extLst>
              <a:ext uri="{FF2B5EF4-FFF2-40B4-BE49-F238E27FC236}">
                <a16:creationId xmlns:a16="http://schemas.microsoft.com/office/drawing/2014/main" id="{1D86D189-69EC-D31E-EC4F-AC1670290D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70665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19799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3522">
          <p15:clr>
            <a:srgbClr val="547EB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Right larg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box full half">
            <a:extLst>
              <a:ext uri="{FF2B5EF4-FFF2-40B4-BE49-F238E27FC236}">
                <a16:creationId xmlns:a16="http://schemas.microsoft.com/office/drawing/2014/main" id="{CB90E03C-6C50-AE93-C5CE-D641F0B03CFE}"/>
              </a:ext>
            </a:extLst>
          </p:cNvPr>
          <p:cNvSpPr>
            <a:spLocks/>
          </p:cNvSpPr>
          <p:nvPr/>
        </p:nvSpPr>
        <p:spPr>
          <a:xfrm>
            <a:off x="550800" y="836613"/>
            <a:ext cx="5545200" cy="5184775"/>
          </a:xfrm>
          <a:prstGeom prst="roundRect">
            <a:avLst>
              <a:gd name="adj" fmla="val 5218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6" name="Title plus Content">
            <a:extLst>
              <a:ext uri="{FF2B5EF4-FFF2-40B4-BE49-F238E27FC236}">
                <a16:creationId xmlns:a16="http://schemas.microsoft.com/office/drawing/2014/main" id="{B6654FCF-9E23-F30B-D796-174B643B33B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0606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13879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15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quiggle">
            <a:extLst>
              <a:ext uri="{FF2B5EF4-FFF2-40B4-BE49-F238E27FC236}">
                <a16:creationId xmlns:a16="http://schemas.microsoft.com/office/drawing/2014/main" id="{A28941CA-3513-CE83-4DDD-76D497F6DC3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325" t="40861" r="22020" b="40196"/>
          <a:stretch/>
        </p:blipFill>
        <p:spPr>
          <a:xfrm>
            <a:off x="-1" y="3207362"/>
            <a:ext cx="7754745" cy="3650638"/>
          </a:xfrm>
          <a:prstGeom prst="rect">
            <a:avLst/>
          </a:prstGeom>
        </p:spPr>
      </p:pic>
      <p:pic>
        <p:nvPicPr>
          <p:cNvPr id="2" name="Laptop">
            <a:extLst>
              <a:ext uri="{FF2B5EF4-FFF2-40B4-BE49-F238E27FC236}">
                <a16:creationId xmlns:a16="http://schemas.microsoft.com/office/drawing/2014/main" id="{673B24E1-9478-7908-545C-1867256DD12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2" t="21192" r="5748" b="22148"/>
          <a:stretch/>
        </p:blipFill>
        <p:spPr>
          <a:xfrm>
            <a:off x="203200" y="990600"/>
            <a:ext cx="7315199" cy="4682233"/>
          </a:xfrm>
          <a:prstGeom prst="rect">
            <a:avLst/>
          </a:prstGeom>
          <a:effectLst>
            <a:outerShdw blurRad="635000" dist="190500" dir="7200000" sx="105000" sy="105000" algn="tl" rotWithShape="0">
              <a:prstClr val="black">
                <a:alpha val="20000"/>
              </a:prstClr>
            </a:outerShdw>
          </a:effectLst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2A86130-EA91-646F-768A-204D64E295D0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1106493" y="1600200"/>
            <a:ext cx="5497507" cy="34544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plus Content">
            <a:extLst>
              <a:ext uri="{FF2B5EF4-FFF2-40B4-BE49-F238E27FC236}">
                <a16:creationId xmlns:a16="http://schemas.microsoft.com/office/drawing/2014/main" id="{EB91291E-44FC-3004-CDB6-BCAC208DA4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85601" y="2052117"/>
            <a:ext cx="3454400" cy="2753767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None/>
              <a:defRPr lang="en-GB" sz="4600" b="1" kern="1200" dirty="0">
                <a:solidFill>
                  <a:schemeClr val="tx2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defRPr>
            </a:lvl1pPr>
            <a:lvl2pPr marL="0" indent="0" algn="l" defTabSz="1219170" rtl="0" eaLnBrk="1" fontAlgn="base" latinLnBrk="0" hangingPunct="1">
              <a:lnSpc>
                <a:spcPct val="13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Segoe UI Semilight" panose="020B0502040204020203" pitchFamily="34" charset="0"/>
                <a:ea typeface="+mn-ea"/>
                <a:cs typeface="Segoe UI Semilight" panose="020B0502040204020203" pitchFamily="34" charset="0"/>
              </a:defRPr>
            </a:lvl2pPr>
            <a:lvl3pPr marL="0" indent="0">
              <a:spcBef>
                <a:spcPts val="1200"/>
              </a:spcBef>
              <a:buClrTx/>
              <a:buFontTx/>
              <a:buNone/>
              <a:defRPr>
                <a:solidFill>
                  <a:schemeClr val="tx1"/>
                </a:solidFill>
              </a:defRPr>
            </a:lvl3pPr>
            <a:lvl4pPr marL="252000" indent="-252000">
              <a:spcBef>
                <a:spcPts val="1200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4pPr>
            <a:lvl5pPr marL="537750" indent="-285750">
              <a:spcBef>
                <a:spcPts val="0"/>
              </a:spcBef>
              <a:buFont typeface="Symbol" panose="05050102010706020507" pitchFamily="18" charset="2"/>
              <a:buChar char=""/>
              <a:defRPr sz="1800" b="0" baseline="0"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 marL="0" indent="0">
              <a:buFontTx/>
              <a:buNone/>
              <a:defRPr sz="2000">
                <a:solidFill>
                  <a:schemeClr val="accent2"/>
                </a:solidFill>
              </a:defRPr>
            </a:lvl7pPr>
            <a:lvl8pPr marL="0" indent="0"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41131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re Va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E4CD333-4BF8-EA4E-B7BF-D6560BAAA0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4906910" cy="6858000"/>
          </a:xfrm>
          <a:custGeom>
            <a:avLst/>
            <a:gdLst>
              <a:gd name="connsiteX0" fmla="*/ 0 w 9811264"/>
              <a:gd name="connsiteY0" fmla="*/ 0 h 13715999"/>
              <a:gd name="connsiteX1" fmla="*/ 5851617 w 9811264"/>
              <a:gd name="connsiteY1" fmla="*/ 0 h 13715999"/>
              <a:gd name="connsiteX2" fmla="*/ 5997745 w 9811264"/>
              <a:gd name="connsiteY2" fmla="*/ 84022 h 13715999"/>
              <a:gd name="connsiteX3" fmla="*/ 9811264 w 9811264"/>
              <a:gd name="connsiteY3" fmla="*/ 6857999 h 13715999"/>
              <a:gd name="connsiteX4" fmla="*/ 5997745 w 9811264"/>
              <a:gd name="connsiteY4" fmla="*/ 13631976 h 13715999"/>
              <a:gd name="connsiteX5" fmla="*/ 5851615 w 9811264"/>
              <a:gd name="connsiteY5" fmla="*/ 13715999 h 13715999"/>
              <a:gd name="connsiteX6" fmla="*/ 0 w 9811264"/>
              <a:gd name="connsiteY6" fmla="*/ 13715999 h 13715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11264" h="13715999">
                <a:moveTo>
                  <a:pt x="0" y="0"/>
                </a:moveTo>
                <a:lnTo>
                  <a:pt x="5851617" y="0"/>
                </a:lnTo>
                <a:lnTo>
                  <a:pt x="5997745" y="84022"/>
                </a:lnTo>
                <a:cubicBezTo>
                  <a:pt x="8284039" y="1473208"/>
                  <a:pt x="9811264" y="3987253"/>
                  <a:pt x="9811264" y="6857999"/>
                </a:cubicBezTo>
                <a:cubicBezTo>
                  <a:pt x="9811264" y="9728746"/>
                  <a:pt x="8284039" y="12242790"/>
                  <a:pt x="5997745" y="13631976"/>
                </a:cubicBezTo>
                <a:lnTo>
                  <a:pt x="5851615" y="13715999"/>
                </a:lnTo>
                <a:lnTo>
                  <a:pt x="0" y="13715999"/>
                </a:lnTo>
                <a:close/>
              </a:path>
            </a:pathLst>
          </a:custGeom>
          <a:solidFill>
            <a:srgbClr val="EDFCFF"/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Segoe UI Semilight" panose="020B0402040204020203" pitchFamily="34" charset="0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Plus Content">
            <a:extLst>
              <a:ext uri="{FF2B5EF4-FFF2-40B4-BE49-F238E27FC236}">
                <a16:creationId xmlns:a16="http://schemas.microsoft.com/office/drawing/2014/main" id="{C6FD7E38-F2D4-D0B2-674F-A73B7A0E4C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6000" y="1691826"/>
            <a:ext cx="5543749" cy="3474349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233388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8245A0CA-77D2-4622-AB84-A5AD64AEB2B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269000"/>
            <a:ext cx="6096000" cy="4320000"/>
          </a:xfrm>
          <a:prstGeom prst="rect">
            <a:avLst/>
          </a:prstGeom>
          <a:solidFill>
            <a:srgbClr val="EDFCFF"/>
          </a:solidFill>
        </p:spPr>
        <p:txBody>
          <a:bodyPr bIns="756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5" name="Title plus Content">
            <a:extLst>
              <a:ext uri="{FF2B5EF4-FFF2-40B4-BE49-F238E27FC236}">
                <a16:creationId xmlns:a16="http://schemas.microsoft.com/office/drawing/2014/main" id="{8CE17E58-CC43-8409-A36C-95B50D3FE3E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70665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85183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52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entre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20266506-7111-89EA-5EFD-A5D40B6D11F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845218"/>
            <a:ext cx="8639999" cy="1167564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8800">
                <a:solidFill>
                  <a:schemeClr val="tx2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4pPr>
            <a:lvl5pPr marL="0" indent="0" algn="ctr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4"/>
                </a:solidFill>
                <a:latin typeface="+mj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3"/>
                </a:solidFill>
                <a:latin typeface="+mj-lt"/>
              </a:defRPr>
            </a:lvl8pPr>
            <a:lvl9pPr algn="ctr">
              <a:defRPr sz="4600" b="1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GB"/>
              <a:t>Text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7023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entre Titl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us Content">
            <a:extLst>
              <a:ext uri="{FF2B5EF4-FFF2-40B4-BE49-F238E27FC236}">
                <a16:creationId xmlns:a16="http://schemas.microsoft.com/office/drawing/2014/main" id="{C5A556B7-0791-621C-816F-9C7E53970E7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845218"/>
            <a:ext cx="8639999" cy="1167564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46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88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4pPr>
            <a:lvl5pPr marL="0" indent="0" algn="ctr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n-lt"/>
              </a:defRPr>
            </a:lvl8pPr>
            <a:lvl9pPr algn="ctr">
              <a:defRPr/>
            </a:lvl9pPr>
          </a:lstStyle>
          <a:p>
            <a:pPr lvl="0"/>
            <a:r>
              <a:rPr lang="en-GB"/>
              <a:t>Text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5286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entre 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4884C31-EC1F-A70F-FF1B-C8B8710346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plus Content">
            <a:extLst>
              <a:ext uri="{FF2B5EF4-FFF2-40B4-BE49-F238E27FC236}">
                <a16:creationId xmlns:a16="http://schemas.microsoft.com/office/drawing/2014/main" id="{77BF0EF0-91A4-5D2D-3D5C-50AC189ACD6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845218"/>
            <a:ext cx="8639999" cy="1167564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460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880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4pPr>
            <a:lvl5pPr marL="0" indent="0" algn="ctr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1"/>
                </a:solidFill>
                <a:latin typeface="+mj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3"/>
                </a:solidFill>
                <a:latin typeface="+mj-lt"/>
              </a:defRPr>
            </a:lvl8pPr>
            <a:lvl9pPr algn="ctr">
              <a:defRPr sz="4600" b="1">
                <a:solidFill>
                  <a:schemeClr val="accent4"/>
                </a:solidFill>
                <a:latin typeface="+mj-lt"/>
              </a:defRPr>
            </a:lvl9pPr>
          </a:lstStyle>
          <a:p>
            <a:pPr lvl="0"/>
            <a:r>
              <a:rPr lang="en-GB"/>
              <a:t>Text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901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>
          <p15:clr>
            <a:srgbClr val="FBAE40"/>
          </p15:clr>
        </p15:guide>
        <p15:guide id="6" pos="352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&#10;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8B88125F-4DBA-4A5C-98A5-541E3DF3AB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 vert="horz" wrap="square" lIns="0" tIns="0" rIns="0" bIns="756000" rtlCol="0" anchor="ctr">
            <a:noAutofit/>
          </a:bodyPr>
          <a:lstStyle>
            <a:lvl1pPr>
              <a:defRPr lang="en-US"/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5" name="Page Number">
            <a:extLst>
              <a:ext uri="{FF2B5EF4-FFF2-40B4-BE49-F238E27FC236}">
                <a16:creationId xmlns:a16="http://schemas.microsoft.com/office/drawing/2014/main" id="{0EAB5203-EB9A-897F-4EF6-58F6F2BD253A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BD4269F-8B15-0029-4910-00DF98A376D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" y="3428999"/>
            <a:ext cx="4470400" cy="3428999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chemeClr val="bg1"/>
          </a:solidFill>
        </p:spPr>
        <p:txBody>
          <a:bodyPr vert="horz" wrap="square" lIns="609600" tIns="203200" rIns="203200" bIns="203200" rtlCol="0" anchor="t" anchorCtr="0">
            <a:noAutofit/>
          </a:bodyPr>
          <a:lstStyle>
            <a:lvl1pPr algn="l">
              <a:lnSpc>
                <a:spcPct val="110000"/>
              </a:lnSpc>
              <a:defRPr lang="de-DE" sz="4600" b="1" i="0" spc="0" baseline="0" dirty="0">
                <a:solidFill>
                  <a:schemeClr val="tx2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536319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BC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94DFF69-2016-9DA3-0C59-AD16B7737D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13" name="Block">
            <a:extLst>
              <a:ext uri="{FF2B5EF4-FFF2-40B4-BE49-F238E27FC236}">
                <a16:creationId xmlns:a16="http://schemas.microsoft.com/office/drawing/2014/main" id="{652B8FD6-74FC-514C-F519-0CBE970EAED5}"/>
              </a:ext>
            </a:extLst>
          </p:cNvPr>
          <p:cNvGrpSpPr/>
          <p:nvPr/>
        </p:nvGrpSpPr>
        <p:grpSpPr>
          <a:xfrm>
            <a:off x="0" y="0"/>
            <a:ext cx="4876800" cy="4680000"/>
            <a:chOff x="0" y="0"/>
            <a:chExt cx="4876800" cy="4648201"/>
          </a:xfrm>
        </p:grpSpPr>
        <p:sp>
          <p:nvSpPr>
            <p:cNvPr id="8" name="Bright Blue Block">
              <a:extLst>
                <a:ext uri="{FF2B5EF4-FFF2-40B4-BE49-F238E27FC236}">
                  <a16:creationId xmlns:a16="http://schemas.microsoft.com/office/drawing/2014/main" id="{55D49043-F59D-C045-9BBB-BC80EA2A2525}"/>
                </a:ext>
              </a:extLst>
            </p:cNvPr>
            <p:cNvSpPr/>
            <p:nvPr/>
          </p:nvSpPr>
          <p:spPr bwMode="white">
            <a:xfrm>
              <a:off x="0" y="1"/>
              <a:ext cx="4876800" cy="4648200"/>
            </a:xfrm>
            <a:prstGeom prst="rect">
              <a:avLst/>
            </a:prstGeom>
            <a:gradFill>
              <a:gsLst>
                <a:gs pos="71000">
                  <a:srgbClr val="538FFF"/>
                </a:gs>
                <a:gs pos="44000">
                  <a:srgbClr val="538FFF"/>
                </a:gs>
                <a:gs pos="19000">
                  <a:srgbClr val="1E52A1">
                    <a:lumMod val="93000"/>
                    <a:lumOff val="7000"/>
                  </a:srgbClr>
                </a:gs>
                <a:gs pos="100000">
                  <a:srgbClr val="538FFF"/>
                </a:gs>
                <a:gs pos="1000">
                  <a:srgbClr val="0A3B7D"/>
                </a:gs>
              </a:gsLst>
              <a:lin ang="1332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PT">
                <a:solidFill>
                  <a:schemeClr val="lt1"/>
                </a:solidFill>
              </a:endParaRPr>
            </a:p>
          </p:txBody>
        </p:sp>
        <p:sp>
          <p:nvSpPr>
            <p:cNvPr id="11" name="Squiggle">
              <a:extLst>
                <a:ext uri="{FF2B5EF4-FFF2-40B4-BE49-F238E27FC236}">
                  <a16:creationId xmlns:a16="http://schemas.microsoft.com/office/drawing/2014/main" id="{49CD59CD-2AFD-FE85-1E90-9F7833A01A25}"/>
                </a:ext>
              </a:extLst>
            </p:cNvPr>
            <p:cNvSpPr/>
            <p:nvPr/>
          </p:nvSpPr>
          <p:spPr>
            <a:xfrm>
              <a:off x="0" y="0"/>
              <a:ext cx="4876800" cy="4648200"/>
            </a:xfrm>
            <a:custGeom>
              <a:avLst/>
              <a:gdLst>
                <a:gd name="connsiteX0" fmla="*/ 0 w 4876800"/>
                <a:gd name="connsiteY0" fmla="*/ 0 h 4648200"/>
                <a:gd name="connsiteX1" fmla="*/ 2670238 w 4876800"/>
                <a:gd name="connsiteY1" fmla="*/ 0 h 4648200"/>
                <a:gd name="connsiteX2" fmla="*/ 3251333 w 4876800"/>
                <a:gd name="connsiteY2" fmla="*/ 517355 h 4648200"/>
                <a:gd name="connsiteX3" fmla="*/ 4616160 w 4876800"/>
                <a:gd name="connsiteY3" fmla="*/ 1736231 h 4648200"/>
                <a:gd name="connsiteX4" fmla="*/ 4876800 w 4876800"/>
                <a:gd name="connsiteY4" fmla="*/ 1979901 h 4648200"/>
                <a:gd name="connsiteX5" fmla="*/ 4876800 w 4876800"/>
                <a:gd name="connsiteY5" fmla="*/ 3115238 h 4648200"/>
                <a:gd name="connsiteX6" fmla="*/ 4717223 w 4876800"/>
                <a:gd name="connsiteY6" fmla="*/ 2960531 h 4648200"/>
                <a:gd name="connsiteX7" fmla="*/ 1552986 w 4876800"/>
                <a:gd name="connsiteY7" fmla="*/ 109887 h 4648200"/>
                <a:gd name="connsiteX8" fmla="*/ 4260751 w 4876800"/>
                <a:gd name="connsiteY8" fmla="*/ 4355467 h 4648200"/>
                <a:gd name="connsiteX9" fmla="*/ 4417260 w 4876800"/>
                <a:gd name="connsiteY9" fmla="*/ 4648200 h 4648200"/>
                <a:gd name="connsiteX10" fmla="*/ 390191 w 4876800"/>
                <a:gd name="connsiteY10" fmla="*/ 4648200 h 4648200"/>
                <a:gd name="connsiteX11" fmla="*/ 4695 w 4876800"/>
                <a:gd name="connsiteY11" fmla="*/ 4056511 h 4648200"/>
                <a:gd name="connsiteX12" fmla="*/ 0 w 4876800"/>
                <a:gd name="connsiteY12" fmla="*/ 4024130 h 4648200"/>
                <a:gd name="connsiteX13" fmla="*/ 0 w 4876800"/>
                <a:gd name="connsiteY13" fmla="*/ 2392129 h 4648200"/>
                <a:gd name="connsiteX14" fmla="*/ 160541 w 4876800"/>
                <a:gd name="connsiteY14" fmla="*/ 2447325 h 4648200"/>
                <a:gd name="connsiteX15" fmla="*/ 1735139 w 4876800"/>
                <a:gd name="connsiteY15" fmla="*/ 3206469 h 4648200"/>
                <a:gd name="connsiteX16" fmla="*/ 108175 w 4876800"/>
                <a:gd name="connsiteY16" fmla="*/ 418305 h 4648200"/>
                <a:gd name="connsiteX17" fmla="*/ 0 w 4876800"/>
                <a:gd name="connsiteY17" fmla="*/ 258755 h 464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76800" h="4648200">
                  <a:moveTo>
                    <a:pt x="0" y="0"/>
                  </a:moveTo>
                  <a:lnTo>
                    <a:pt x="2670238" y="0"/>
                  </a:lnTo>
                  <a:lnTo>
                    <a:pt x="3251333" y="517355"/>
                  </a:lnTo>
                  <a:cubicBezTo>
                    <a:pt x="3703273" y="916643"/>
                    <a:pt x="4152812" y="1310328"/>
                    <a:pt x="4616160" y="1736231"/>
                  </a:cubicBezTo>
                  <a:lnTo>
                    <a:pt x="4876800" y="1979901"/>
                  </a:lnTo>
                  <a:lnTo>
                    <a:pt x="4876800" y="3115238"/>
                  </a:lnTo>
                  <a:lnTo>
                    <a:pt x="4717223" y="2960531"/>
                  </a:lnTo>
                  <a:cubicBezTo>
                    <a:pt x="2977630" y="1278774"/>
                    <a:pt x="2656650" y="1112355"/>
                    <a:pt x="1552986" y="109887"/>
                  </a:cubicBezTo>
                  <a:cubicBezTo>
                    <a:pt x="2546389" y="1475815"/>
                    <a:pt x="2400157" y="885368"/>
                    <a:pt x="4260751" y="4355467"/>
                  </a:cubicBezTo>
                  <a:lnTo>
                    <a:pt x="4417260" y="4648200"/>
                  </a:lnTo>
                  <a:lnTo>
                    <a:pt x="390191" y="4648200"/>
                  </a:lnTo>
                  <a:lnTo>
                    <a:pt x="4695" y="4056511"/>
                  </a:lnTo>
                  <a:lnTo>
                    <a:pt x="0" y="4024130"/>
                  </a:lnTo>
                  <a:lnTo>
                    <a:pt x="0" y="2392129"/>
                  </a:lnTo>
                  <a:lnTo>
                    <a:pt x="160541" y="2447325"/>
                  </a:lnTo>
                  <a:cubicBezTo>
                    <a:pt x="586623" y="2597715"/>
                    <a:pt x="1118268" y="2816866"/>
                    <a:pt x="1735139" y="3206469"/>
                  </a:cubicBezTo>
                  <a:cubicBezTo>
                    <a:pt x="1612651" y="2856712"/>
                    <a:pt x="816105" y="1476499"/>
                    <a:pt x="108175" y="418305"/>
                  </a:cubicBezTo>
                  <a:lnTo>
                    <a:pt x="0" y="258755"/>
                  </a:lnTo>
                  <a:close/>
                </a:path>
              </a:pathLst>
            </a:custGeom>
            <a:gradFill>
              <a:gsLst>
                <a:gs pos="100000">
                  <a:srgbClr val="356DCA"/>
                </a:gs>
                <a:gs pos="0">
                  <a:srgbClr val="3067C1">
                    <a:lumMod val="93000"/>
                    <a:lumOff val="7000"/>
                  </a:srgbClr>
                </a:gs>
              </a:gsLst>
              <a:lin ang="18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466110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p15="http://schemas.microsoft.com/office/powerpoint/2012/main" xmlns:a16="http://schemas.microsoft.com/office/drawing/2014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icture_Specia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Special">
            <a:extLst>
              <a:ext uri="{FF2B5EF4-FFF2-40B4-BE49-F238E27FC236}">
                <a16:creationId xmlns:a16="http://schemas.microsoft.com/office/drawing/2014/main" id="{30915A37-2073-1835-1333-20479AFB9FCE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effectLst>
            <a:fillOverlay blend="mult">
              <a:gradFill flip="none" rotWithShape="1">
                <a:gsLst>
                  <a:gs pos="27000">
                    <a:srgbClr val="072853">
                      <a:alpha val="77655"/>
                    </a:srgbClr>
                  </a:gs>
                  <a:gs pos="100000">
                    <a:srgbClr val="E3E3E3">
                      <a:lumMod val="10000"/>
                      <a:alpha val="0"/>
                    </a:srgbClr>
                  </a:gs>
                  <a:gs pos="1000">
                    <a:srgbClr val="538FFF">
                      <a:alpha val="19000"/>
                    </a:srgbClr>
                  </a:gs>
                </a:gsLst>
                <a:lin ang="18900000" scaled="1"/>
                <a:tileRect/>
              </a:gradFill>
            </a:fillOverlay>
          </a:effectLst>
        </p:spPr>
        <p:txBody>
          <a:bodyPr rtlCol="0" anchor="ctr"/>
          <a:lstStyle>
            <a:lvl1pPr algn="ctr">
              <a:defRPr kumimoji="0" lang="en-US" b="0" i="0" u="none" strike="noStrike" kern="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</a:defRPr>
            </a:lvl1pPr>
          </a:lstStyle>
          <a:p>
            <a:pPr marR="0" lvl="0" algn="ctr" defTabSz="91440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/>
              <a:t> </a:t>
            </a:r>
          </a:p>
        </p:txBody>
      </p:sp>
      <p:sp>
        <p:nvSpPr>
          <p:cNvPr id="2" name="Gradient Overlay">
            <a:extLst>
              <a:ext uri="{FF2B5EF4-FFF2-40B4-BE49-F238E27FC236}">
                <a16:creationId xmlns:a16="http://schemas.microsoft.com/office/drawing/2014/main" id="{B640A9B8-017D-770A-F926-BD345E7FCF4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27000">
                <a:srgbClr val="072853">
                  <a:alpha val="77655"/>
                </a:srgbClr>
              </a:gs>
              <a:gs pos="100000">
                <a:srgbClr val="E3E3E3">
                  <a:lumMod val="10000"/>
                  <a:alpha val="0"/>
                </a:srgbClr>
              </a:gs>
              <a:gs pos="1000">
                <a:srgbClr val="538FFF">
                  <a:alpha val="19000"/>
                </a:srgbClr>
              </a:gs>
            </a:gsLst>
            <a:lin ang="189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Page Number">
            <a:extLst>
              <a:ext uri="{FF2B5EF4-FFF2-40B4-BE49-F238E27FC236}">
                <a16:creationId xmlns:a16="http://schemas.microsoft.com/office/drawing/2014/main" id="{76F9FC46-6208-CC39-7B3E-CA57286B34C9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itle plus Content">
            <a:extLst>
              <a:ext uri="{FF2B5EF4-FFF2-40B4-BE49-F238E27FC236}">
                <a16:creationId xmlns:a16="http://schemas.microsoft.com/office/drawing/2014/main" id="{A6E6DCA2-8017-4CD2-28FB-E1A0A967464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0" y="2406060"/>
            <a:ext cx="5003999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954734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quiggle">
            <a:extLst>
              <a:ext uri="{FF2B5EF4-FFF2-40B4-BE49-F238E27FC236}">
                <a16:creationId xmlns:a16="http://schemas.microsoft.com/office/drawing/2014/main" id="{E6B056FC-D76E-6EEE-1F46-98B3E85BDD72}"/>
              </a:ext>
            </a:extLst>
          </p:cNvPr>
          <p:cNvSpPr/>
          <p:nvPr/>
        </p:nvSpPr>
        <p:spPr>
          <a:xfrm rot="4430537">
            <a:off x="2406828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15000">
                <a:srgbClr val="01326E"/>
              </a:gs>
              <a:gs pos="30000">
                <a:srgbClr val="063878"/>
              </a:gs>
              <a:gs pos="78000">
                <a:srgbClr val="0F4287"/>
              </a:gs>
            </a:gsLst>
            <a:lin ang="15000009" scaled="1"/>
          </a:gra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Page Number">
            <a:extLst>
              <a:ext uri="{FF2B5EF4-FFF2-40B4-BE49-F238E27FC236}">
                <a16:creationId xmlns:a16="http://schemas.microsoft.com/office/drawing/2014/main" id="{5B0DC7E5-022C-E336-ADE4-61DCBE11E4B8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Content Right">
            <a:extLst>
              <a:ext uri="{FF2B5EF4-FFF2-40B4-BE49-F238E27FC236}">
                <a16:creationId xmlns:a16="http://schemas.microsoft.com/office/drawing/2014/main" id="{7C386E73-9374-BBFB-A747-8E349BFAA0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9" name="Content Left">
            <a:extLst>
              <a:ext uri="{FF2B5EF4-FFF2-40B4-BE49-F238E27FC236}">
                <a16:creationId xmlns:a16="http://schemas.microsoft.com/office/drawing/2014/main" id="{4A32F4B5-2541-213E-96AA-F00FB8F19F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8CB23AF2-DD56-8970-5A18-031902AD91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n-lt"/>
              </a:defRPr>
            </a:lvl8pPr>
            <a:lvl9pPr algn="ctr">
              <a:defRPr/>
            </a:lvl9pPr>
          </a:lstStyle>
          <a:p>
            <a:pPr lvl="0"/>
            <a:r>
              <a:rPr lang="en-GB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31362806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 Dark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quiggle">
            <a:extLst>
              <a:ext uri="{FF2B5EF4-FFF2-40B4-BE49-F238E27FC236}">
                <a16:creationId xmlns:a16="http://schemas.microsoft.com/office/drawing/2014/main" id="{1E6DD7F4-E2C2-F58B-157D-CC07C47C23C1}"/>
              </a:ext>
            </a:extLst>
          </p:cNvPr>
          <p:cNvSpPr/>
          <p:nvPr/>
        </p:nvSpPr>
        <p:spPr>
          <a:xfrm>
            <a:off x="1" y="0"/>
            <a:ext cx="12191999" cy="6191520"/>
          </a:xfrm>
          <a:custGeom>
            <a:avLst/>
            <a:gdLst>
              <a:gd name="connsiteX0" fmla="*/ 6714175 w 12191999"/>
              <a:gd name="connsiteY0" fmla="*/ 0 h 6191520"/>
              <a:gd name="connsiteX1" fmla="*/ 8050801 w 12191999"/>
              <a:gd name="connsiteY1" fmla="*/ 0 h 6191520"/>
              <a:gd name="connsiteX2" fmla="*/ 10623550 w 12191999"/>
              <a:gd name="connsiteY2" fmla="*/ 692150 h 6191520"/>
              <a:gd name="connsiteX3" fmla="*/ 11134726 w 12191999"/>
              <a:gd name="connsiteY3" fmla="*/ 876300 h 6191520"/>
              <a:gd name="connsiteX4" fmla="*/ 10858501 w 12191999"/>
              <a:gd name="connsiteY4" fmla="*/ 2076451 h 6191520"/>
              <a:gd name="connsiteX5" fmla="*/ 8181976 w 12191999"/>
              <a:gd name="connsiteY5" fmla="*/ 2343151 h 6191520"/>
              <a:gd name="connsiteX6" fmla="*/ 12039359 w 12191999"/>
              <a:gd name="connsiteY6" fmla="*/ 2642538 h 6191520"/>
              <a:gd name="connsiteX7" fmla="*/ 12191999 w 12191999"/>
              <a:gd name="connsiteY7" fmla="*/ 2680470 h 6191520"/>
              <a:gd name="connsiteX8" fmla="*/ 12191999 w 12191999"/>
              <a:gd name="connsiteY8" fmla="*/ 4461251 h 6191520"/>
              <a:gd name="connsiteX9" fmla="*/ 12029198 w 12191999"/>
              <a:gd name="connsiteY9" fmla="*/ 4498611 h 6191520"/>
              <a:gd name="connsiteX10" fmla="*/ 3400734 w 12191999"/>
              <a:gd name="connsiteY10" fmla="*/ 4691832 h 6191520"/>
              <a:gd name="connsiteX11" fmla="*/ 10825317 w 12191999"/>
              <a:gd name="connsiteY11" fmla="*/ 4906297 h 6191520"/>
              <a:gd name="connsiteX12" fmla="*/ 10753725 w 12191999"/>
              <a:gd name="connsiteY12" fmla="*/ 6188486 h 6191520"/>
              <a:gd name="connsiteX13" fmla="*/ 483866 w 12191999"/>
              <a:gd name="connsiteY13" fmla="*/ 5753127 h 6191520"/>
              <a:gd name="connsiteX14" fmla="*/ 0 w 12191999"/>
              <a:gd name="connsiteY14" fmla="*/ 5700385 h 6191520"/>
              <a:gd name="connsiteX15" fmla="*/ 0 w 12191999"/>
              <a:gd name="connsiteY15" fmla="*/ 3731019 h 6191520"/>
              <a:gd name="connsiteX16" fmla="*/ 92261 w 12191999"/>
              <a:gd name="connsiteY16" fmla="*/ 3708145 h 6191520"/>
              <a:gd name="connsiteX17" fmla="*/ 1002891 w 12191999"/>
              <a:gd name="connsiteY17" fmla="*/ 3618271 h 6191520"/>
              <a:gd name="connsiteX18" fmla="*/ 25475 w 12191999"/>
              <a:gd name="connsiteY18" fmla="*/ 3349301 h 6191520"/>
              <a:gd name="connsiteX19" fmla="*/ 0 w 12191999"/>
              <a:gd name="connsiteY19" fmla="*/ 3338246 h 6191520"/>
              <a:gd name="connsiteX20" fmla="*/ 0 w 12191999"/>
              <a:gd name="connsiteY20" fmla="*/ 2172532 h 6191520"/>
              <a:gd name="connsiteX21" fmla="*/ 31629 w 12191999"/>
              <a:gd name="connsiteY21" fmla="*/ 2142588 h 6191520"/>
              <a:gd name="connsiteX22" fmla="*/ 7181852 w 12191999"/>
              <a:gd name="connsiteY22" fmla="*/ 1143000 h 6191520"/>
              <a:gd name="connsiteX23" fmla="*/ 6684468 w 12191999"/>
              <a:gd name="connsiteY23" fmla="*/ 45095 h 619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9" h="6191520">
                <a:moveTo>
                  <a:pt x="6714175" y="0"/>
                </a:moveTo>
                <a:lnTo>
                  <a:pt x="8050801" y="0"/>
                </a:lnTo>
                <a:lnTo>
                  <a:pt x="10623550" y="692150"/>
                </a:lnTo>
                <a:cubicBezTo>
                  <a:pt x="10793942" y="753533"/>
                  <a:pt x="10856384" y="764117"/>
                  <a:pt x="11134726" y="876300"/>
                </a:cubicBezTo>
                <a:cubicBezTo>
                  <a:pt x="11772901" y="1309688"/>
                  <a:pt x="11091478" y="2063050"/>
                  <a:pt x="10858501" y="2076451"/>
                </a:cubicBezTo>
                <a:cubicBezTo>
                  <a:pt x="10637716" y="2089151"/>
                  <a:pt x="9112251" y="2251076"/>
                  <a:pt x="8181976" y="2343151"/>
                </a:cubicBezTo>
                <a:cubicBezTo>
                  <a:pt x="9457135" y="2448720"/>
                  <a:pt x="10834391" y="2371974"/>
                  <a:pt x="12039359" y="2642538"/>
                </a:cubicBezTo>
                <a:lnTo>
                  <a:pt x="12191999" y="2680470"/>
                </a:lnTo>
                <a:lnTo>
                  <a:pt x="12191999" y="4461251"/>
                </a:lnTo>
                <a:lnTo>
                  <a:pt x="12029198" y="4498611"/>
                </a:lnTo>
                <a:cubicBezTo>
                  <a:pt x="10052580" y="4896281"/>
                  <a:pt x="3595103" y="4625802"/>
                  <a:pt x="3400734" y="4691832"/>
                </a:cubicBezTo>
                <a:cubicBezTo>
                  <a:pt x="3200095" y="4759992"/>
                  <a:pt x="9835794" y="4794506"/>
                  <a:pt x="10825317" y="4906297"/>
                </a:cubicBezTo>
                <a:cubicBezTo>
                  <a:pt x="11814840" y="5018088"/>
                  <a:pt x="11251074" y="6260794"/>
                  <a:pt x="10753725" y="6188486"/>
                </a:cubicBezTo>
                <a:cubicBezTo>
                  <a:pt x="8313425" y="6094676"/>
                  <a:pt x="4231215" y="6130491"/>
                  <a:pt x="483866" y="5753127"/>
                </a:cubicBezTo>
                <a:lnTo>
                  <a:pt x="0" y="5700385"/>
                </a:lnTo>
                <a:lnTo>
                  <a:pt x="0" y="3731019"/>
                </a:lnTo>
                <a:lnTo>
                  <a:pt x="92261" y="3708145"/>
                </a:lnTo>
                <a:cubicBezTo>
                  <a:pt x="430911" y="3635859"/>
                  <a:pt x="902136" y="3639908"/>
                  <a:pt x="1002891" y="3618271"/>
                </a:cubicBezTo>
                <a:cubicBezTo>
                  <a:pt x="992048" y="3621510"/>
                  <a:pt x="391872" y="3496392"/>
                  <a:pt x="25475" y="3349301"/>
                </a:cubicBezTo>
                <a:lnTo>
                  <a:pt x="0" y="3338246"/>
                </a:lnTo>
                <a:lnTo>
                  <a:pt x="0" y="2172532"/>
                </a:lnTo>
                <a:lnTo>
                  <a:pt x="31629" y="2142588"/>
                </a:lnTo>
                <a:cubicBezTo>
                  <a:pt x="905081" y="1446802"/>
                  <a:pt x="4950569" y="1355124"/>
                  <a:pt x="7181852" y="1143000"/>
                </a:cubicBezTo>
                <a:cubicBezTo>
                  <a:pt x="6322221" y="1016794"/>
                  <a:pt x="6432353" y="456605"/>
                  <a:pt x="6684468" y="45095"/>
                </a:cubicBezTo>
                <a:close/>
              </a:path>
            </a:pathLst>
          </a:custGeom>
          <a:gradFill flip="none" rotWithShape="1">
            <a:gsLst>
              <a:gs pos="77000">
                <a:srgbClr val="3A72D2"/>
              </a:gs>
              <a:gs pos="37000">
                <a:schemeClr val="accent1"/>
              </a:gs>
              <a:gs pos="0">
                <a:schemeClr val="accent1">
                  <a:lumMod val="50000"/>
                </a:schemeClr>
              </a:gs>
              <a:gs pos="100000">
                <a:srgbClr val="508CFB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91FED144-706E-40BF-05AD-D824465899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47D136EB-E265-B02D-31FA-D2556BEE9F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2BCE1666-68F9-B23D-25CA-48CFE4798B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n-lt"/>
              </a:defRPr>
            </a:lvl8pPr>
            <a:lvl9pPr algn="ctr">
              <a:defRPr/>
            </a:lvl9pPr>
          </a:lstStyle>
          <a:p>
            <a:pPr lvl="0"/>
            <a:r>
              <a:rPr lang="en-GB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37917550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 BC">
    <p:bg>
      <p:bgPr>
        <a:gradFill>
          <a:gsLst>
            <a:gs pos="0">
              <a:schemeClr val="accent1"/>
            </a:gs>
            <a:gs pos="100000">
              <a:schemeClr val="accent3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qiggle">
            <a:extLst>
              <a:ext uri="{FF2B5EF4-FFF2-40B4-BE49-F238E27FC236}">
                <a16:creationId xmlns:a16="http://schemas.microsoft.com/office/drawing/2014/main" id="{7CFE2DE4-C24E-60C5-80CA-985A84B4053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268" t="3430" r="5268"/>
          <a:stretch/>
        </p:blipFill>
        <p:spPr>
          <a:xfrm>
            <a:off x="0" y="0"/>
            <a:ext cx="12192001" cy="6197600"/>
          </a:xfrm>
          <a:prstGeom prst="rect">
            <a:avLst/>
          </a:prstGeom>
        </p:spPr>
      </p:pic>
      <p:sp>
        <p:nvSpPr>
          <p:cNvPr id="14" name="Content Right">
            <a:extLst>
              <a:ext uri="{FF2B5EF4-FFF2-40B4-BE49-F238E27FC236}">
                <a16:creationId xmlns:a16="http://schemas.microsoft.com/office/drawing/2014/main" id="{565FE5FD-13AB-AEFA-D1C2-F2E347DD1EF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3" name="Content Left">
            <a:extLst>
              <a:ext uri="{FF2B5EF4-FFF2-40B4-BE49-F238E27FC236}">
                <a16:creationId xmlns:a16="http://schemas.microsoft.com/office/drawing/2014/main" id="{2C9CF517-E5B8-36D8-B36C-5B35A7DCAA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C5615C34-CA3E-F307-1218-2A274BDD2A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4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4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4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4"/>
                </a:solidFill>
                <a:latin typeface="+mn-lt"/>
              </a:defRPr>
            </a:lvl8pPr>
            <a:lvl9pPr algn="ctr">
              <a:defRPr>
                <a:solidFill>
                  <a:schemeClr val="accent4"/>
                </a:solidFill>
              </a:defRPr>
            </a:lvl9pPr>
          </a:lstStyle>
          <a:p>
            <a:pPr lvl="0"/>
            <a:r>
              <a:rPr lang="en-GB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3918479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 CC">
    <p:bg>
      <p:bgPr>
        <a:gradFill>
          <a:gsLst>
            <a:gs pos="0">
              <a:schemeClr val="accent4"/>
            </a:gs>
            <a:gs pos="100000">
              <a:schemeClr val="accent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quiggle">
            <a:extLst>
              <a:ext uri="{FF2B5EF4-FFF2-40B4-BE49-F238E27FC236}">
                <a16:creationId xmlns:a16="http://schemas.microsoft.com/office/drawing/2014/main" id="{A2CEC2FF-1490-0554-2D76-465A5050BD16}"/>
              </a:ext>
            </a:extLst>
          </p:cNvPr>
          <p:cNvSpPr/>
          <p:nvPr/>
        </p:nvSpPr>
        <p:spPr>
          <a:xfrm>
            <a:off x="1" y="0"/>
            <a:ext cx="12191999" cy="6858000"/>
          </a:xfrm>
          <a:custGeom>
            <a:avLst/>
            <a:gdLst>
              <a:gd name="connsiteX0" fmla="*/ 6714175 w 12191999"/>
              <a:gd name="connsiteY0" fmla="*/ 0 h 6191520"/>
              <a:gd name="connsiteX1" fmla="*/ 8050801 w 12191999"/>
              <a:gd name="connsiteY1" fmla="*/ 0 h 6191520"/>
              <a:gd name="connsiteX2" fmla="*/ 10623550 w 12191999"/>
              <a:gd name="connsiteY2" fmla="*/ 692150 h 6191520"/>
              <a:gd name="connsiteX3" fmla="*/ 11134726 w 12191999"/>
              <a:gd name="connsiteY3" fmla="*/ 876300 h 6191520"/>
              <a:gd name="connsiteX4" fmla="*/ 10858501 w 12191999"/>
              <a:gd name="connsiteY4" fmla="*/ 2076451 h 6191520"/>
              <a:gd name="connsiteX5" fmla="*/ 8181976 w 12191999"/>
              <a:gd name="connsiteY5" fmla="*/ 2343151 h 6191520"/>
              <a:gd name="connsiteX6" fmla="*/ 12039359 w 12191999"/>
              <a:gd name="connsiteY6" fmla="*/ 2642538 h 6191520"/>
              <a:gd name="connsiteX7" fmla="*/ 12191999 w 12191999"/>
              <a:gd name="connsiteY7" fmla="*/ 2680470 h 6191520"/>
              <a:gd name="connsiteX8" fmla="*/ 12191999 w 12191999"/>
              <a:gd name="connsiteY8" fmla="*/ 4461251 h 6191520"/>
              <a:gd name="connsiteX9" fmla="*/ 12029198 w 12191999"/>
              <a:gd name="connsiteY9" fmla="*/ 4498611 h 6191520"/>
              <a:gd name="connsiteX10" fmla="*/ 3400734 w 12191999"/>
              <a:gd name="connsiteY10" fmla="*/ 4691832 h 6191520"/>
              <a:gd name="connsiteX11" fmla="*/ 10825317 w 12191999"/>
              <a:gd name="connsiteY11" fmla="*/ 4906297 h 6191520"/>
              <a:gd name="connsiteX12" fmla="*/ 10753725 w 12191999"/>
              <a:gd name="connsiteY12" fmla="*/ 6188486 h 6191520"/>
              <a:gd name="connsiteX13" fmla="*/ 483866 w 12191999"/>
              <a:gd name="connsiteY13" fmla="*/ 5753127 h 6191520"/>
              <a:gd name="connsiteX14" fmla="*/ 0 w 12191999"/>
              <a:gd name="connsiteY14" fmla="*/ 5700385 h 6191520"/>
              <a:gd name="connsiteX15" fmla="*/ 0 w 12191999"/>
              <a:gd name="connsiteY15" fmla="*/ 3731019 h 6191520"/>
              <a:gd name="connsiteX16" fmla="*/ 92261 w 12191999"/>
              <a:gd name="connsiteY16" fmla="*/ 3708145 h 6191520"/>
              <a:gd name="connsiteX17" fmla="*/ 1002891 w 12191999"/>
              <a:gd name="connsiteY17" fmla="*/ 3618271 h 6191520"/>
              <a:gd name="connsiteX18" fmla="*/ 25475 w 12191999"/>
              <a:gd name="connsiteY18" fmla="*/ 3349301 h 6191520"/>
              <a:gd name="connsiteX19" fmla="*/ 0 w 12191999"/>
              <a:gd name="connsiteY19" fmla="*/ 3338246 h 6191520"/>
              <a:gd name="connsiteX20" fmla="*/ 0 w 12191999"/>
              <a:gd name="connsiteY20" fmla="*/ 2172532 h 6191520"/>
              <a:gd name="connsiteX21" fmla="*/ 31629 w 12191999"/>
              <a:gd name="connsiteY21" fmla="*/ 2142588 h 6191520"/>
              <a:gd name="connsiteX22" fmla="*/ 7181852 w 12191999"/>
              <a:gd name="connsiteY22" fmla="*/ 1143000 h 6191520"/>
              <a:gd name="connsiteX23" fmla="*/ 6684468 w 12191999"/>
              <a:gd name="connsiteY23" fmla="*/ 45095 h 619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9" h="6191520">
                <a:moveTo>
                  <a:pt x="6714175" y="0"/>
                </a:moveTo>
                <a:lnTo>
                  <a:pt x="8050801" y="0"/>
                </a:lnTo>
                <a:lnTo>
                  <a:pt x="10623550" y="692150"/>
                </a:lnTo>
                <a:cubicBezTo>
                  <a:pt x="10793942" y="753533"/>
                  <a:pt x="10856384" y="764117"/>
                  <a:pt x="11134726" y="876300"/>
                </a:cubicBezTo>
                <a:cubicBezTo>
                  <a:pt x="11772901" y="1309688"/>
                  <a:pt x="11091478" y="2063050"/>
                  <a:pt x="10858501" y="2076451"/>
                </a:cubicBezTo>
                <a:cubicBezTo>
                  <a:pt x="10637716" y="2089151"/>
                  <a:pt x="9112251" y="2251076"/>
                  <a:pt x="8181976" y="2343151"/>
                </a:cubicBezTo>
                <a:cubicBezTo>
                  <a:pt x="9457135" y="2448720"/>
                  <a:pt x="10834391" y="2371974"/>
                  <a:pt x="12039359" y="2642538"/>
                </a:cubicBezTo>
                <a:lnTo>
                  <a:pt x="12191999" y="2680470"/>
                </a:lnTo>
                <a:lnTo>
                  <a:pt x="12191999" y="4461251"/>
                </a:lnTo>
                <a:lnTo>
                  <a:pt x="12029198" y="4498611"/>
                </a:lnTo>
                <a:cubicBezTo>
                  <a:pt x="10052580" y="4896281"/>
                  <a:pt x="3595103" y="4625802"/>
                  <a:pt x="3400734" y="4691832"/>
                </a:cubicBezTo>
                <a:cubicBezTo>
                  <a:pt x="3200095" y="4759992"/>
                  <a:pt x="9835794" y="4794506"/>
                  <a:pt x="10825317" y="4906297"/>
                </a:cubicBezTo>
                <a:cubicBezTo>
                  <a:pt x="11814840" y="5018088"/>
                  <a:pt x="11251074" y="6260794"/>
                  <a:pt x="10753725" y="6188486"/>
                </a:cubicBezTo>
                <a:cubicBezTo>
                  <a:pt x="8313425" y="6094676"/>
                  <a:pt x="4231215" y="6130491"/>
                  <a:pt x="483866" y="5753127"/>
                </a:cubicBezTo>
                <a:lnTo>
                  <a:pt x="0" y="5700385"/>
                </a:lnTo>
                <a:lnTo>
                  <a:pt x="0" y="3731019"/>
                </a:lnTo>
                <a:lnTo>
                  <a:pt x="92261" y="3708145"/>
                </a:lnTo>
                <a:cubicBezTo>
                  <a:pt x="430911" y="3635859"/>
                  <a:pt x="902136" y="3639908"/>
                  <a:pt x="1002891" y="3618271"/>
                </a:cubicBezTo>
                <a:cubicBezTo>
                  <a:pt x="992048" y="3621510"/>
                  <a:pt x="391872" y="3496392"/>
                  <a:pt x="25475" y="3349301"/>
                </a:cubicBezTo>
                <a:lnTo>
                  <a:pt x="0" y="3338246"/>
                </a:lnTo>
                <a:lnTo>
                  <a:pt x="0" y="2172532"/>
                </a:lnTo>
                <a:lnTo>
                  <a:pt x="31629" y="2142588"/>
                </a:lnTo>
                <a:cubicBezTo>
                  <a:pt x="905081" y="1446802"/>
                  <a:pt x="4950569" y="1355124"/>
                  <a:pt x="7181852" y="1143000"/>
                </a:cubicBezTo>
                <a:cubicBezTo>
                  <a:pt x="6322221" y="1016794"/>
                  <a:pt x="6432353" y="456605"/>
                  <a:pt x="6684468" y="45095"/>
                </a:cubicBezTo>
                <a:close/>
              </a:path>
            </a:pathLst>
          </a:custGeom>
          <a:gradFill>
            <a:gsLst>
              <a:gs pos="81000">
                <a:schemeClr val="accent4"/>
              </a:gs>
              <a:gs pos="45000">
                <a:schemeClr val="accent5"/>
              </a:gs>
              <a:gs pos="0">
                <a:schemeClr val="accent5">
                  <a:lumMod val="75000"/>
                </a:schemeClr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ADA28BE9-F121-8062-CBAD-9A343CD32F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6E8E9C7C-A4E7-DBB7-A0F1-558FE349EB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59DCE367-7F86-E53B-D18B-45159C29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1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1"/>
                </a:solidFill>
                <a:latin typeface="+mn-lt"/>
              </a:defRPr>
            </a:lvl8pPr>
            <a:lvl9pPr algn="ctr"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1645596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 CE">
    <p:bg>
      <p:bgPr>
        <a:gradFill>
          <a:gsLst>
            <a:gs pos="100000">
              <a:schemeClr val="accent2"/>
            </a:gs>
            <a:gs pos="1000">
              <a:schemeClr val="accent6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quiggle">
            <a:extLst>
              <a:ext uri="{FF2B5EF4-FFF2-40B4-BE49-F238E27FC236}">
                <a16:creationId xmlns:a16="http://schemas.microsoft.com/office/drawing/2014/main" id="{06464395-C2C6-ABCC-8A0F-EB434784476E}"/>
              </a:ext>
            </a:extLst>
          </p:cNvPr>
          <p:cNvSpPr/>
          <p:nvPr/>
        </p:nvSpPr>
        <p:spPr>
          <a:xfrm flipH="1">
            <a:off x="0" y="12700"/>
            <a:ext cx="12192000" cy="6845300"/>
          </a:xfrm>
          <a:custGeom>
            <a:avLst/>
            <a:gdLst>
              <a:gd name="connsiteX0" fmla="*/ 6199289 w 12192000"/>
              <a:gd name="connsiteY0" fmla="*/ 0 h 6845300"/>
              <a:gd name="connsiteX1" fmla="*/ 7203731 w 12192000"/>
              <a:gd name="connsiteY1" fmla="*/ 0 h 6845300"/>
              <a:gd name="connsiteX2" fmla="*/ 7359622 w 12192000"/>
              <a:gd name="connsiteY2" fmla="*/ 49453 h 6845300"/>
              <a:gd name="connsiteX3" fmla="*/ 8414960 w 12192000"/>
              <a:gd name="connsiteY3" fmla="*/ 1606495 h 6845300"/>
              <a:gd name="connsiteX4" fmla="*/ 5466469 w 12192000"/>
              <a:gd name="connsiteY4" fmla="*/ 2898099 h 6845300"/>
              <a:gd name="connsiteX5" fmla="*/ 5510206 w 12192000"/>
              <a:gd name="connsiteY5" fmla="*/ 2901236 h 6845300"/>
              <a:gd name="connsiteX6" fmla="*/ 5460194 w 12192000"/>
              <a:gd name="connsiteY6" fmla="*/ 2910257 h 6845300"/>
              <a:gd name="connsiteX7" fmla="*/ 5519365 w 12192000"/>
              <a:gd name="connsiteY7" fmla="*/ 2901893 h 6845300"/>
              <a:gd name="connsiteX8" fmla="*/ 5510206 w 12192000"/>
              <a:gd name="connsiteY8" fmla="*/ 2901236 h 6845300"/>
              <a:gd name="connsiteX9" fmla="*/ 5580191 w 12192000"/>
              <a:gd name="connsiteY9" fmla="*/ 2888612 h 6845300"/>
              <a:gd name="connsiteX10" fmla="*/ 11972077 w 12192000"/>
              <a:gd name="connsiteY10" fmla="*/ 2171553 h 6845300"/>
              <a:gd name="connsiteX11" fmla="*/ 12192000 w 12192000"/>
              <a:gd name="connsiteY11" fmla="*/ 2178484 h 6845300"/>
              <a:gd name="connsiteX12" fmla="*/ 12192000 w 12192000"/>
              <a:gd name="connsiteY12" fmla="*/ 5299398 h 6845300"/>
              <a:gd name="connsiteX13" fmla="*/ 12167811 w 12192000"/>
              <a:gd name="connsiteY13" fmla="*/ 5321244 h 6845300"/>
              <a:gd name="connsiteX14" fmla="*/ 6833810 w 12192000"/>
              <a:gd name="connsiteY14" fmla="*/ 6845245 h 6845300"/>
              <a:gd name="connsiteX15" fmla="*/ 4014410 w 12192000"/>
              <a:gd name="connsiteY15" fmla="*/ 5721294 h 6845300"/>
              <a:gd name="connsiteX16" fmla="*/ 6090862 w 12192000"/>
              <a:gd name="connsiteY16" fmla="*/ 5016445 h 6845300"/>
              <a:gd name="connsiteX17" fmla="*/ 8091111 w 12192000"/>
              <a:gd name="connsiteY17" fmla="*/ 4387794 h 6845300"/>
              <a:gd name="connsiteX18" fmla="*/ 133191 w 12192000"/>
              <a:gd name="connsiteY18" fmla="*/ 5201685 h 6845300"/>
              <a:gd name="connsiteX19" fmla="*/ 0 w 12192000"/>
              <a:gd name="connsiteY19" fmla="*/ 5177688 h 6845300"/>
              <a:gd name="connsiteX20" fmla="*/ 0 w 12192000"/>
              <a:gd name="connsiteY20" fmla="*/ 2436193 h 684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000" h="6845300">
                <a:moveTo>
                  <a:pt x="6199289" y="0"/>
                </a:moveTo>
                <a:lnTo>
                  <a:pt x="7203731" y="0"/>
                </a:lnTo>
                <a:lnTo>
                  <a:pt x="7359622" y="49453"/>
                </a:lnTo>
                <a:cubicBezTo>
                  <a:pt x="8204617" y="379158"/>
                  <a:pt x="8544341" y="1258039"/>
                  <a:pt x="8414960" y="1606495"/>
                </a:cubicBezTo>
                <a:cubicBezTo>
                  <a:pt x="8247843" y="2056585"/>
                  <a:pt x="5039486" y="2835429"/>
                  <a:pt x="5466469" y="2898099"/>
                </a:cubicBezTo>
                <a:lnTo>
                  <a:pt x="5510206" y="2901236"/>
                </a:lnTo>
                <a:lnTo>
                  <a:pt x="5460194" y="2910257"/>
                </a:lnTo>
                <a:cubicBezTo>
                  <a:pt x="5292756" y="2940883"/>
                  <a:pt x="5292153" y="2943234"/>
                  <a:pt x="5519365" y="2901893"/>
                </a:cubicBezTo>
                <a:lnTo>
                  <a:pt x="5510206" y="2901236"/>
                </a:lnTo>
                <a:lnTo>
                  <a:pt x="5580191" y="2888612"/>
                </a:lnTo>
                <a:cubicBezTo>
                  <a:pt x="6521601" y="2720756"/>
                  <a:pt x="10015123" y="2137155"/>
                  <a:pt x="11972077" y="2171553"/>
                </a:cubicBezTo>
                <a:lnTo>
                  <a:pt x="12192000" y="2178484"/>
                </a:lnTo>
                <a:lnTo>
                  <a:pt x="12192000" y="5299398"/>
                </a:lnTo>
                <a:lnTo>
                  <a:pt x="12167811" y="5321244"/>
                </a:lnTo>
                <a:cubicBezTo>
                  <a:pt x="11357127" y="6035619"/>
                  <a:pt x="8192710" y="6781745"/>
                  <a:pt x="6833810" y="6845245"/>
                </a:cubicBezTo>
                <a:cubicBezTo>
                  <a:pt x="5589211" y="6851595"/>
                  <a:pt x="4014410" y="6315019"/>
                  <a:pt x="4014410" y="5721294"/>
                </a:cubicBezTo>
                <a:cubicBezTo>
                  <a:pt x="4014410" y="5127569"/>
                  <a:pt x="5411411" y="5238695"/>
                  <a:pt x="6090862" y="5016445"/>
                </a:cubicBezTo>
                <a:cubicBezTo>
                  <a:pt x="6770312" y="4794195"/>
                  <a:pt x="9538911" y="4140145"/>
                  <a:pt x="8091111" y="4387794"/>
                </a:cubicBezTo>
                <a:cubicBezTo>
                  <a:pt x="6733800" y="4619965"/>
                  <a:pt x="1980415" y="5478145"/>
                  <a:pt x="133191" y="5201685"/>
                </a:cubicBezTo>
                <a:lnTo>
                  <a:pt x="0" y="5177688"/>
                </a:lnTo>
                <a:lnTo>
                  <a:pt x="0" y="2436193"/>
                </a:lnTo>
                <a:close/>
              </a:path>
            </a:pathLst>
          </a:custGeom>
          <a:gradFill flip="none" rotWithShape="1">
            <a:gsLst>
              <a:gs pos="89000">
                <a:srgbClr val="00B8E1"/>
              </a:gs>
              <a:gs pos="58000">
                <a:srgbClr val="00B9BB"/>
              </a:gs>
              <a:gs pos="13000">
                <a:schemeClr val="accent6"/>
              </a:gs>
            </a:gsLst>
            <a:lin ang="5400000" scaled="1"/>
            <a:tileRect/>
          </a:gra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03200" tIns="203200" rIns="203200" bIns="203200" rtlCol="0" anchor="ctr">
            <a:noAutofit/>
          </a:bodyPr>
          <a:lstStyle/>
          <a:p>
            <a:pPr algn="ctr" defTabSz="486000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C838D4E0-5FA5-149F-DA63-5537298677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4D97221C-C54B-48A3-07B5-36612F448B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DE9B26B4-B170-0585-EE3B-86F2524427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4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4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4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4"/>
                </a:solidFill>
                <a:latin typeface="+mn-lt"/>
              </a:defRPr>
            </a:lvl8pPr>
            <a:lvl9pPr algn="ctr">
              <a:defRPr>
                <a:solidFill>
                  <a:schemeClr val="accent4"/>
                </a:solidFill>
              </a:defRPr>
            </a:lvl9pPr>
          </a:lstStyle>
          <a:p>
            <a:pPr lvl="0"/>
            <a:r>
              <a:rPr lang="en-GB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33318198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 DA">
    <p:bg>
      <p:bgPr>
        <a:gradFill>
          <a:gsLst>
            <a:gs pos="0">
              <a:schemeClr val="accent2"/>
            </a:gs>
            <a:gs pos="100000">
              <a:schemeClr val="accent3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quiggle">
            <a:extLst>
              <a:ext uri="{FF2B5EF4-FFF2-40B4-BE49-F238E27FC236}">
                <a16:creationId xmlns:a16="http://schemas.microsoft.com/office/drawing/2014/main" id="{1E6DD7F4-E2C2-F58B-157D-CC07C47C23C1}"/>
              </a:ext>
            </a:extLst>
          </p:cNvPr>
          <p:cNvSpPr/>
          <p:nvPr/>
        </p:nvSpPr>
        <p:spPr>
          <a:xfrm>
            <a:off x="1" y="0"/>
            <a:ext cx="12191999" cy="6858000"/>
          </a:xfrm>
          <a:custGeom>
            <a:avLst/>
            <a:gdLst>
              <a:gd name="connsiteX0" fmla="*/ 6714175 w 12191999"/>
              <a:gd name="connsiteY0" fmla="*/ 0 h 6191520"/>
              <a:gd name="connsiteX1" fmla="*/ 8050801 w 12191999"/>
              <a:gd name="connsiteY1" fmla="*/ 0 h 6191520"/>
              <a:gd name="connsiteX2" fmla="*/ 10623550 w 12191999"/>
              <a:gd name="connsiteY2" fmla="*/ 692150 h 6191520"/>
              <a:gd name="connsiteX3" fmla="*/ 11134726 w 12191999"/>
              <a:gd name="connsiteY3" fmla="*/ 876300 h 6191520"/>
              <a:gd name="connsiteX4" fmla="*/ 10858501 w 12191999"/>
              <a:gd name="connsiteY4" fmla="*/ 2076451 h 6191520"/>
              <a:gd name="connsiteX5" fmla="*/ 8181976 w 12191999"/>
              <a:gd name="connsiteY5" fmla="*/ 2343151 h 6191520"/>
              <a:gd name="connsiteX6" fmla="*/ 12039359 w 12191999"/>
              <a:gd name="connsiteY6" fmla="*/ 2642538 h 6191520"/>
              <a:gd name="connsiteX7" fmla="*/ 12191999 w 12191999"/>
              <a:gd name="connsiteY7" fmla="*/ 2680470 h 6191520"/>
              <a:gd name="connsiteX8" fmla="*/ 12191999 w 12191999"/>
              <a:gd name="connsiteY8" fmla="*/ 4461251 h 6191520"/>
              <a:gd name="connsiteX9" fmla="*/ 12029198 w 12191999"/>
              <a:gd name="connsiteY9" fmla="*/ 4498611 h 6191520"/>
              <a:gd name="connsiteX10" fmla="*/ 3400734 w 12191999"/>
              <a:gd name="connsiteY10" fmla="*/ 4691832 h 6191520"/>
              <a:gd name="connsiteX11" fmla="*/ 10825317 w 12191999"/>
              <a:gd name="connsiteY11" fmla="*/ 4906297 h 6191520"/>
              <a:gd name="connsiteX12" fmla="*/ 10753725 w 12191999"/>
              <a:gd name="connsiteY12" fmla="*/ 6188486 h 6191520"/>
              <a:gd name="connsiteX13" fmla="*/ 483866 w 12191999"/>
              <a:gd name="connsiteY13" fmla="*/ 5753127 h 6191520"/>
              <a:gd name="connsiteX14" fmla="*/ 0 w 12191999"/>
              <a:gd name="connsiteY14" fmla="*/ 5700385 h 6191520"/>
              <a:gd name="connsiteX15" fmla="*/ 0 w 12191999"/>
              <a:gd name="connsiteY15" fmla="*/ 3731019 h 6191520"/>
              <a:gd name="connsiteX16" fmla="*/ 92261 w 12191999"/>
              <a:gd name="connsiteY16" fmla="*/ 3708145 h 6191520"/>
              <a:gd name="connsiteX17" fmla="*/ 1002891 w 12191999"/>
              <a:gd name="connsiteY17" fmla="*/ 3618271 h 6191520"/>
              <a:gd name="connsiteX18" fmla="*/ 25475 w 12191999"/>
              <a:gd name="connsiteY18" fmla="*/ 3349301 h 6191520"/>
              <a:gd name="connsiteX19" fmla="*/ 0 w 12191999"/>
              <a:gd name="connsiteY19" fmla="*/ 3338246 h 6191520"/>
              <a:gd name="connsiteX20" fmla="*/ 0 w 12191999"/>
              <a:gd name="connsiteY20" fmla="*/ 2172532 h 6191520"/>
              <a:gd name="connsiteX21" fmla="*/ 31629 w 12191999"/>
              <a:gd name="connsiteY21" fmla="*/ 2142588 h 6191520"/>
              <a:gd name="connsiteX22" fmla="*/ 7181852 w 12191999"/>
              <a:gd name="connsiteY22" fmla="*/ 1143000 h 6191520"/>
              <a:gd name="connsiteX23" fmla="*/ 6684468 w 12191999"/>
              <a:gd name="connsiteY23" fmla="*/ 45095 h 619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9" h="6191520">
                <a:moveTo>
                  <a:pt x="6714175" y="0"/>
                </a:moveTo>
                <a:lnTo>
                  <a:pt x="8050801" y="0"/>
                </a:lnTo>
                <a:lnTo>
                  <a:pt x="10623550" y="692150"/>
                </a:lnTo>
                <a:cubicBezTo>
                  <a:pt x="10793942" y="753533"/>
                  <a:pt x="10856384" y="764117"/>
                  <a:pt x="11134726" y="876300"/>
                </a:cubicBezTo>
                <a:cubicBezTo>
                  <a:pt x="11772901" y="1309688"/>
                  <a:pt x="11091478" y="2063050"/>
                  <a:pt x="10858501" y="2076451"/>
                </a:cubicBezTo>
                <a:cubicBezTo>
                  <a:pt x="10637716" y="2089151"/>
                  <a:pt x="9112251" y="2251076"/>
                  <a:pt x="8181976" y="2343151"/>
                </a:cubicBezTo>
                <a:cubicBezTo>
                  <a:pt x="9457135" y="2448720"/>
                  <a:pt x="10834391" y="2371974"/>
                  <a:pt x="12039359" y="2642538"/>
                </a:cubicBezTo>
                <a:lnTo>
                  <a:pt x="12191999" y="2680470"/>
                </a:lnTo>
                <a:lnTo>
                  <a:pt x="12191999" y="4461251"/>
                </a:lnTo>
                <a:lnTo>
                  <a:pt x="12029198" y="4498611"/>
                </a:lnTo>
                <a:cubicBezTo>
                  <a:pt x="10052580" y="4896281"/>
                  <a:pt x="3595103" y="4625802"/>
                  <a:pt x="3400734" y="4691832"/>
                </a:cubicBezTo>
                <a:cubicBezTo>
                  <a:pt x="3200095" y="4759992"/>
                  <a:pt x="9835794" y="4794506"/>
                  <a:pt x="10825317" y="4906297"/>
                </a:cubicBezTo>
                <a:cubicBezTo>
                  <a:pt x="11814840" y="5018088"/>
                  <a:pt x="11251074" y="6260794"/>
                  <a:pt x="10753725" y="6188486"/>
                </a:cubicBezTo>
                <a:cubicBezTo>
                  <a:pt x="8313425" y="6094676"/>
                  <a:pt x="4231215" y="6130491"/>
                  <a:pt x="483866" y="5753127"/>
                </a:cubicBezTo>
                <a:lnTo>
                  <a:pt x="0" y="5700385"/>
                </a:lnTo>
                <a:lnTo>
                  <a:pt x="0" y="3731019"/>
                </a:lnTo>
                <a:lnTo>
                  <a:pt x="92261" y="3708145"/>
                </a:lnTo>
                <a:cubicBezTo>
                  <a:pt x="430911" y="3635859"/>
                  <a:pt x="902136" y="3639908"/>
                  <a:pt x="1002891" y="3618271"/>
                </a:cubicBezTo>
                <a:cubicBezTo>
                  <a:pt x="992048" y="3621510"/>
                  <a:pt x="391872" y="3496392"/>
                  <a:pt x="25475" y="3349301"/>
                </a:cubicBezTo>
                <a:lnTo>
                  <a:pt x="0" y="3338246"/>
                </a:lnTo>
                <a:lnTo>
                  <a:pt x="0" y="2172532"/>
                </a:lnTo>
                <a:lnTo>
                  <a:pt x="31629" y="2142588"/>
                </a:lnTo>
                <a:cubicBezTo>
                  <a:pt x="905081" y="1446802"/>
                  <a:pt x="4950569" y="1355124"/>
                  <a:pt x="7181852" y="1143000"/>
                </a:cubicBezTo>
                <a:cubicBezTo>
                  <a:pt x="6322221" y="1016794"/>
                  <a:pt x="6432353" y="456605"/>
                  <a:pt x="6684468" y="45095"/>
                </a:cubicBezTo>
                <a:close/>
              </a:path>
            </a:pathLst>
          </a:custGeom>
          <a:gradFill flip="none" rotWithShape="1">
            <a:gsLst>
              <a:gs pos="90000">
                <a:schemeClr val="accent2"/>
              </a:gs>
              <a:gs pos="37000">
                <a:schemeClr val="accent3"/>
              </a:gs>
              <a:gs pos="0">
                <a:schemeClr val="accent3">
                  <a:lumMod val="50000"/>
                </a:schemeClr>
              </a:gs>
              <a:gs pos="100000">
                <a:schemeClr val="accent2">
                  <a:lumMod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91FED144-706E-40BF-05AD-D824465899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47D136EB-E265-B02D-31FA-D2556BEE9F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4B1FFFD7-DD5D-2FB2-1E99-087C94150B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1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1"/>
                </a:solidFill>
                <a:latin typeface="+mn-lt"/>
              </a:defRPr>
            </a:lvl8pPr>
            <a:lvl9pPr algn="ctr"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6956057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377633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ight Blu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0382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 Number">
            <a:extLst>
              <a:ext uri="{FF2B5EF4-FFF2-40B4-BE49-F238E27FC236}">
                <a16:creationId xmlns:a16="http://schemas.microsoft.com/office/drawing/2014/main" id="{14714A40-A869-BCD1-091E-69FC8C5C546A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5198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C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CD45725-0FF6-4B65-0D2B-7A5FCDC3F38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Orange Block">
            <a:extLst>
              <a:ext uri="{FF2B5EF4-FFF2-40B4-BE49-F238E27FC236}">
                <a16:creationId xmlns:a16="http://schemas.microsoft.com/office/drawing/2014/main" id="{DB0B598B-C9D6-DAE8-E909-26110C40CEA7}"/>
              </a:ext>
            </a:extLst>
          </p:cNvPr>
          <p:cNvSpPr/>
          <p:nvPr/>
        </p:nvSpPr>
        <p:spPr bwMode="white">
          <a:xfrm>
            <a:off x="0" y="-1"/>
            <a:ext cx="4876800" cy="4680000"/>
          </a:xfrm>
          <a:prstGeom prst="rect">
            <a:avLst/>
          </a:prstGeom>
          <a:gradFill>
            <a:gsLst>
              <a:gs pos="35000">
                <a:srgbClr val="E65A03"/>
              </a:gs>
              <a:gs pos="100000">
                <a:srgbClr val="F07900"/>
              </a:gs>
              <a:gs pos="0">
                <a:srgbClr val="E55703"/>
              </a:gs>
            </a:gsLst>
            <a:lin ang="189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algn="ctr" defTabSz="91440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endParaRPr kumimoji="0" lang="en-PT" b="0" i="0" u="none" strike="noStrike" kern="0" cap="none" spc="0" normalizeH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6" name="Squiggle 2">
            <a:extLst>
              <a:ext uri="{FF2B5EF4-FFF2-40B4-BE49-F238E27FC236}">
                <a16:creationId xmlns:a16="http://schemas.microsoft.com/office/drawing/2014/main" id="{4F9839D8-DD34-BF32-8C9A-D4A351E9EF3D}"/>
              </a:ext>
            </a:extLst>
          </p:cNvPr>
          <p:cNvSpPr/>
          <p:nvPr/>
        </p:nvSpPr>
        <p:spPr>
          <a:xfrm>
            <a:off x="406400" y="1949493"/>
            <a:ext cx="4458342" cy="2730506"/>
          </a:xfrm>
          <a:custGeom>
            <a:avLst/>
            <a:gdLst>
              <a:gd name="connsiteX0" fmla="*/ 4458342 w 4458342"/>
              <a:gd name="connsiteY0" fmla="*/ 68 h 2730506"/>
              <a:gd name="connsiteX1" fmla="*/ 4448817 w 4458342"/>
              <a:gd name="connsiteY1" fmla="*/ 2721043 h 2730506"/>
              <a:gd name="connsiteX2" fmla="*/ 4174621 w 4458342"/>
              <a:gd name="connsiteY2" fmla="*/ 2728793 h 2730506"/>
              <a:gd name="connsiteX3" fmla="*/ 4144911 w 4458342"/>
              <a:gd name="connsiteY3" fmla="*/ 2730506 h 2730506"/>
              <a:gd name="connsiteX4" fmla="*/ 2623679 w 4458342"/>
              <a:gd name="connsiteY4" fmla="*/ 2730506 h 2730506"/>
              <a:gd name="connsiteX5" fmla="*/ 2661479 w 4458342"/>
              <a:gd name="connsiteY5" fmla="*/ 2630001 h 2730506"/>
              <a:gd name="connsiteX6" fmla="*/ 3376488 w 4458342"/>
              <a:gd name="connsiteY6" fmla="*/ 1150378 h 2730506"/>
              <a:gd name="connsiteX7" fmla="*/ 2275273 w 4458342"/>
              <a:gd name="connsiteY7" fmla="*/ 1976289 h 2730506"/>
              <a:gd name="connsiteX8" fmla="*/ 1294379 w 4458342"/>
              <a:gd name="connsiteY8" fmla="*/ 2730506 h 2730506"/>
              <a:gd name="connsiteX9" fmla="*/ 0 w 4458342"/>
              <a:gd name="connsiteY9" fmla="*/ 2730506 h 2730506"/>
              <a:gd name="connsiteX10" fmla="*/ 74915 w 4458342"/>
              <a:gd name="connsiteY10" fmla="*/ 2634677 h 2730506"/>
              <a:gd name="connsiteX11" fmla="*/ 2197742 w 4458342"/>
              <a:gd name="connsiteY11" fmla="*/ 1114493 h 2730506"/>
              <a:gd name="connsiteX12" fmla="*/ 4458342 w 4458342"/>
              <a:gd name="connsiteY12" fmla="*/ 68 h 2730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58342" h="2730506">
                <a:moveTo>
                  <a:pt x="4458342" y="68"/>
                </a:moveTo>
                <a:lnTo>
                  <a:pt x="4448817" y="2721043"/>
                </a:lnTo>
                <a:cubicBezTo>
                  <a:pt x="4362232" y="2721837"/>
                  <a:pt x="4270538" y="2724522"/>
                  <a:pt x="4174621" y="2728793"/>
                </a:cubicBezTo>
                <a:lnTo>
                  <a:pt x="4144911" y="2730506"/>
                </a:lnTo>
                <a:lnTo>
                  <a:pt x="2623679" y="2730506"/>
                </a:lnTo>
                <a:lnTo>
                  <a:pt x="2661479" y="2630001"/>
                </a:lnTo>
                <a:cubicBezTo>
                  <a:pt x="2867822" y="2113582"/>
                  <a:pt x="3178614" y="1530354"/>
                  <a:pt x="3376488" y="1150378"/>
                </a:cubicBezTo>
                <a:lnTo>
                  <a:pt x="2275273" y="1976289"/>
                </a:lnTo>
                <a:lnTo>
                  <a:pt x="1294379" y="2730506"/>
                </a:lnTo>
                <a:lnTo>
                  <a:pt x="0" y="2730506"/>
                </a:lnTo>
                <a:lnTo>
                  <a:pt x="74915" y="2634677"/>
                </a:lnTo>
                <a:cubicBezTo>
                  <a:pt x="465021" y="2199819"/>
                  <a:pt x="1632451" y="1506964"/>
                  <a:pt x="2197742" y="1114493"/>
                </a:cubicBezTo>
                <a:cubicBezTo>
                  <a:pt x="2951463" y="591198"/>
                  <a:pt x="4424475" y="-7340"/>
                  <a:pt x="4458342" y="68"/>
                </a:cubicBezTo>
                <a:close/>
              </a:path>
            </a:pathLst>
          </a:custGeom>
          <a:gradFill>
            <a:gsLst>
              <a:gs pos="70000">
                <a:srgbClr val="E86301"/>
              </a:gs>
              <a:gs pos="35000">
                <a:srgbClr val="E86101"/>
              </a:gs>
              <a:gs pos="100000">
                <a:srgbClr val="E86101"/>
              </a:gs>
              <a:gs pos="0">
                <a:srgbClr val="E86201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Squiggle 1">
            <a:extLst>
              <a:ext uri="{FF2B5EF4-FFF2-40B4-BE49-F238E27FC236}">
                <a16:creationId xmlns:a16="http://schemas.microsoft.com/office/drawing/2014/main" id="{C37ACE55-304C-EC98-D7F7-78C4D2DAA204}"/>
              </a:ext>
            </a:extLst>
          </p:cNvPr>
          <p:cNvSpPr/>
          <p:nvPr/>
        </p:nvSpPr>
        <p:spPr>
          <a:xfrm>
            <a:off x="12700" y="12700"/>
            <a:ext cx="3143251" cy="4076700"/>
          </a:xfrm>
          <a:custGeom>
            <a:avLst/>
            <a:gdLst>
              <a:gd name="connsiteX0" fmla="*/ 0 w 3143251"/>
              <a:gd name="connsiteY0" fmla="*/ 0 h 4076700"/>
              <a:gd name="connsiteX1" fmla="*/ 3143251 w 3143251"/>
              <a:gd name="connsiteY1" fmla="*/ 0 h 4076700"/>
              <a:gd name="connsiteX2" fmla="*/ 1743076 w 3143251"/>
              <a:gd name="connsiteY2" fmla="*/ 1943100 h 4076700"/>
              <a:gd name="connsiteX3" fmla="*/ 0 w 3143251"/>
              <a:gd name="connsiteY3" fmla="*/ 4076700 h 4076700"/>
              <a:gd name="connsiteX4" fmla="*/ 0 w 3143251"/>
              <a:gd name="connsiteY4" fmla="*/ 2040508 h 4076700"/>
              <a:gd name="connsiteX5" fmla="*/ 21267 w 3143251"/>
              <a:gd name="connsiteY5" fmla="*/ 2008537 h 4076700"/>
              <a:gd name="connsiteX6" fmla="*/ 460479 w 3143251"/>
              <a:gd name="connsiteY6" fmla="*/ 1482537 h 4076700"/>
              <a:gd name="connsiteX7" fmla="*/ 10638 w 3143251"/>
              <a:gd name="connsiteY7" fmla="*/ 1717593 h 4076700"/>
              <a:gd name="connsiteX8" fmla="*/ 0 w 3143251"/>
              <a:gd name="connsiteY8" fmla="*/ 172251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43251" h="4076700">
                <a:moveTo>
                  <a:pt x="0" y="0"/>
                </a:moveTo>
                <a:lnTo>
                  <a:pt x="3143251" y="0"/>
                </a:lnTo>
                <a:cubicBezTo>
                  <a:pt x="2781301" y="647700"/>
                  <a:pt x="2209801" y="1295400"/>
                  <a:pt x="1743076" y="1943100"/>
                </a:cubicBezTo>
                <a:cubicBezTo>
                  <a:pt x="1219201" y="2622550"/>
                  <a:pt x="871538" y="3009900"/>
                  <a:pt x="0" y="4076700"/>
                </a:cubicBezTo>
                <a:lnTo>
                  <a:pt x="0" y="2040508"/>
                </a:lnTo>
                <a:lnTo>
                  <a:pt x="21267" y="2008537"/>
                </a:lnTo>
                <a:cubicBezTo>
                  <a:pt x="166305" y="1796335"/>
                  <a:pt x="232480" y="1770389"/>
                  <a:pt x="460479" y="1482537"/>
                </a:cubicBezTo>
                <a:lnTo>
                  <a:pt x="10638" y="1717593"/>
                </a:lnTo>
                <a:lnTo>
                  <a:pt x="0" y="1722510"/>
                </a:lnTo>
                <a:close/>
              </a:path>
            </a:pathLst>
          </a:custGeom>
          <a:gradFill>
            <a:gsLst>
              <a:gs pos="70000">
                <a:srgbClr val="EB6A01"/>
              </a:gs>
              <a:gs pos="35000">
                <a:srgbClr val="EA6801"/>
              </a:gs>
              <a:gs pos="100000">
                <a:srgbClr val="EB6A01"/>
              </a:gs>
              <a:gs pos="0">
                <a:srgbClr val="EB6A01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51114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quiggle">
            <a:extLst>
              <a:ext uri="{FF2B5EF4-FFF2-40B4-BE49-F238E27FC236}">
                <a16:creationId xmlns:a16="http://schemas.microsoft.com/office/drawing/2014/main" id="{5E6E4728-D40D-35DA-66B0-22FC4E6E8CDE}"/>
              </a:ext>
            </a:extLst>
          </p:cNvPr>
          <p:cNvSpPr/>
          <p:nvPr/>
        </p:nvSpPr>
        <p:spPr>
          <a:xfrm rot="4430537">
            <a:off x="2406828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15000">
                <a:srgbClr val="01326E"/>
              </a:gs>
              <a:gs pos="30000">
                <a:srgbClr val="063878"/>
              </a:gs>
              <a:gs pos="78000">
                <a:srgbClr val="0F4287"/>
              </a:gs>
            </a:gsLst>
            <a:lin ang="15000009" scaled="1"/>
          </a:gra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C1A5A066-7C32-E9BB-5006-1E1E179DF5DD}"/>
              </a:ext>
            </a:extLst>
          </p:cNvPr>
          <p:cNvSpPr/>
          <p:nvPr/>
        </p:nvSpPr>
        <p:spPr bwMode="black">
          <a:xfrm>
            <a:off x="4368800" y="2961927"/>
            <a:ext cx="3454400" cy="934146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718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quiggle">
            <a:extLst>
              <a:ext uri="{FF2B5EF4-FFF2-40B4-BE49-F238E27FC236}">
                <a16:creationId xmlns:a16="http://schemas.microsoft.com/office/drawing/2014/main" id="{463F5D0C-65C5-086F-4E60-1F0A660F42B5}"/>
              </a:ext>
            </a:extLst>
          </p:cNvPr>
          <p:cNvSpPr/>
          <p:nvPr userDrawn="1"/>
        </p:nvSpPr>
        <p:spPr>
          <a:xfrm rot="4430537">
            <a:off x="2406829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15000">
                <a:srgbClr val="01326E"/>
              </a:gs>
              <a:gs pos="30000">
                <a:srgbClr val="063878"/>
              </a:gs>
              <a:gs pos="78000">
                <a:srgbClr val="0F4287"/>
              </a:gs>
            </a:gsLst>
            <a:lin ang="15000009" scaled="1"/>
          </a:gra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10" name="Blue Box Shape">
            <a:extLst>
              <a:ext uri="{FF2B5EF4-FFF2-40B4-BE49-F238E27FC236}">
                <a16:creationId xmlns:a16="http://schemas.microsoft.com/office/drawing/2014/main" id="{76823654-0DEA-9800-76C1-EB05AC4A18AE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sz="1800" baseline="0">
              <a:solidFill>
                <a:schemeClr val="tx1"/>
              </a:solidFill>
            </a:endParaRP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F9D5D955-DB32-6A5C-C407-2B252C3BFE21}"/>
              </a:ext>
            </a:extLst>
          </p:cNvPr>
          <p:cNvSpPr/>
          <p:nvPr/>
        </p:nvSpPr>
        <p:spPr bwMode="black">
          <a:xfrm>
            <a:off x="9211096" y="767924"/>
            <a:ext cx="2442107" cy="660400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BCE12DA5-FA0F-2599-53F7-72C054F2FC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1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D5EF7968-483B-45DB-96A0-41EC9F5D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tx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129874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p15="http://schemas.microsoft.com/office/powerpoint/2012/main" xmlns:a14="http://schemas.microsoft.com/office/drawing/2010/main" xmlns:a16="http://schemas.microsoft.com/office/drawing/2014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light blue sw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quiggle">
            <a:extLst>
              <a:ext uri="{FF2B5EF4-FFF2-40B4-BE49-F238E27FC236}">
                <a16:creationId xmlns:a16="http://schemas.microsoft.com/office/drawing/2014/main" id="{BAF5E0ED-0333-392E-AB78-7C19A767D9DA}"/>
              </a:ext>
            </a:extLst>
          </p:cNvPr>
          <p:cNvSpPr/>
          <p:nvPr userDrawn="1"/>
        </p:nvSpPr>
        <p:spPr>
          <a:xfrm rot="4430537">
            <a:off x="2406829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solidFill>
            <a:schemeClr val="accent3">
              <a:alpha val="20000"/>
            </a:schemeClr>
          </a:soli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13" name="Logo">
            <a:extLst>
              <a:ext uri="{FF2B5EF4-FFF2-40B4-BE49-F238E27FC236}">
                <a16:creationId xmlns:a16="http://schemas.microsoft.com/office/drawing/2014/main" id="{03C3DFE9-7B51-03ED-E3F6-9296D2ECF020}"/>
              </a:ext>
            </a:extLst>
          </p:cNvPr>
          <p:cNvSpPr>
            <a:spLocks/>
          </p:cNvSpPr>
          <p:nvPr userDrawn="1"/>
        </p:nvSpPr>
        <p:spPr bwMode="black">
          <a:xfrm>
            <a:off x="9211096" y="767925"/>
            <a:ext cx="2442107" cy="660400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11" name="Blue Block">
            <a:extLst>
              <a:ext uri="{FF2B5EF4-FFF2-40B4-BE49-F238E27FC236}">
                <a16:creationId xmlns:a16="http://schemas.microsoft.com/office/drawing/2014/main" id="{7AD4D1C8-300A-85EA-CD84-2E0586AD7D57}"/>
              </a:ext>
            </a:extLst>
          </p:cNvPr>
          <p:cNvSpPr>
            <a:spLocks/>
          </p:cNvSpPr>
          <p:nvPr/>
        </p:nvSpPr>
        <p:spPr bwMode="white">
          <a:xfrm>
            <a:off x="0" y="-1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sz="1800"/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9AD7562C-8257-11ED-C6EF-B20B75504B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1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E8877920-AA15-4721-9894-E5C6B06DAC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15177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45" userDrawn="1">
          <p15:clr>
            <a:srgbClr val="FBAE40"/>
          </p15:clr>
        </p15:guide>
        <p15:guide id="2" orient="horz" pos="1207" userDrawn="1">
          <p15:clr>
            <a:srgbClr val="FBAE40"/>
          </p15:clr>
        </p15:guide>
        <p15:guide id="3" orient="horz" pos="1616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ogo">
            <a:extLst>
              <a:ext uri="{FF2B5EF4-FFF2-40B4-BE49-F238E27FC236}">
                <a16:creationId xmlns:a16="http://schemas.microsoft.com/office/drawing/2014/main" id="{71EC193D-CC43-15CD-831C-49F8CD8C16BD}"/>
              </a:ext>
            </a:extLst>
          </p:cNvPr>
          <p:cNvSpPr>
            <a:spLocks/>
          </p:cNvSpPr>
          <p:nvPr/>
        </p:nvSpPr>
        <p:spPr bwMode="black">
          <a:xfrm>
            <a:off x="9211096" y="767925"/>
            <a:ext cx="2442107" cy="660400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12" name="Blue Block">
            <a:extLst>
              <a:ext uri="{FF2B5EF4-FFF2-40B4-BE49-F238E27FC236}">
                <a16:creationId xmlns:a16="http://schemas.microsoft.com/office/drawing/2014/main" id="{D00D9B82-CF9A-0D93-6F46-B6D1542878BF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sz="180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BBD3EDA2-78B7-6B49-D40E-E33D2D383B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1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DD0DF77D-FC8F-101B-4675-31AF887AF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75462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lue Block">
            <a:extLst>
              <a:ext uri="{FF2B5EF4-FFF2-40B4-BE49-F238E27FC236}">
                <a16:creationId xmlns:a16="http://schemas.microsoft.com/office/drawing/2014/main" id="{12453F8B-CE7E-AFE0-3462-35D246540372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sz="180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0738DAB-25E3-9346-CA31-170E03F8D7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1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219280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C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94DFF69-2016-9DA3-0C59-AD16B7737D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13" name="Block">
            <a:extLst>
              <a:ext uri="{FF2B5EF4-FFF2-40B4-BE49-F238E27FC236}">
                <a16:creationId xmlns:a16="http://schemas.microsoft.com/office/drawing/2014/main" id="{652B8FD6-74FC-514C-F519-0CBE970EAED5}"/>
              </a:ext>
            </a:extLst>
          </p:cNvPr>
          <p:cNvGrpSpPr/>
          <p:nvPr/>
        </p:nvGrpSpPr>
        <p:grpSpPr>
          <a:xfrm>
            <a:off x="0" y="0"/>
            <a:ext cx="4876800" cy="4680000"/>
            <a:chOff x="0" y="0"/>
            <a:chExt cx="4876800" cy="4648201"/>
          </a:xfrm>
        </p:grpSpPr>
        <p:sp>
          <p:nvSpPr>
            <p:cNvPr id="8" name="Bright Blue Block">
              <a:extLst>
                <a:ext uri="{FF2B5EF4-FFF2-40B4-BE49-F238E27FC236}">
                  <a16:creationId xmlns:a16="http://schemas.microsoft.com/office/drawing/2014/main" id="{55D49043-F59D-C045-9BBB-BC80EA2A2525}"/>
                </a:ext>
              </a:extLst>
            </p:cNvPr>
            <p:cNvSpPr/>
            <p:nvPr/>
          </p:nvSpPr>
          <p:spPr bwMode="white">
            <a:xfrm>
              <a:off x="0" y="1"/>
              <a:ext cx="4876800" cy="4648200"/>
            </a:xfrm>
            <a:prstGeom prst="rect">
              <a:avLst/>
            </a:prstGeom>
            <a:gradFill>
              <a:gsLst>
                <a:gs pos="71000">
                  <a:srgbClr val="538FFF"/>
                </a:gs>
                <a:gs pos="44000">
                  <a:srgbClr val="538FFF"/>
                </a:gs>
                <a:gs pos="19000">
                  <a:srgbClr val="1E52A1">
                    <a:lumMod val="93000"/>
                    <a:lumOff val="7000"/>
                  </a:srgbClr>
                </a:gs>
                <a:gs pos="100000">
                  <a:srgbClr val="538FFF"/>
                </a:gs>
                <a:gs pos="1000">
                  <a:srgbClr val="0A3B7D"/>
                </a:gs>
              </a:gsLst>
              <a:lin ang="1332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PT" sz="1800">
                <a:solidFill>
                  <a:schemeClr val="lt1"/>
                </a:solidFill>
              </a:endParaRPr>
            </a:p>
          </p:txBody>
        </p:sp>
        <p:sp>
          <p:nvSpPr>
            <p:cNvPr id="11" name="Squiggle">
              <a:extLst>
                <a:ext uri="{FF2B5EF4-FFF2-40B4-BE49-F238E27FC236}">
                  <a16:creationId xmlns:a16="http://schemas.microsoft.com/office/drawing/2014/main" id="{49CD59CD-2AFD-FE85-1E90-9F7833A01A25}"/>
                </a:ext>
              </a:extLst>
            </p:cNvPr>
            <p:cNvSpPr/>
            <p:nvPr/>
          </p:nvSpPr>
          <p:spPr>
            <a:xfrm>
              <a:off x="0" y="0"/>
              <a:ext cx="4876800" cy="4648200"/>
            </a:xfrm>
            <a:custGeom>
              <a:avLst/>
              <a:gdLst>
                <a:gd name="connsiteX0" fmla="*/ 0 w 4876800"/>
                <a:gd name="connsiteY0" fmla="*/ 0 h 4648200"/>
                <a:gd name="connsiteX1" fmla="*/ 2670238 w 4876800"/>
                <a:gd name="connsiteY1" fmla="*/ 0 h 4648200"/>
                <a:gd name="connsiteX2" fmla="*/ 3251333 w 4876800"/>
                <a:gd name="connsiteY2" fmla="*/ 517355 h 4648200"/>
                <a:gd name="connsiteX3" fmla="*/ 4616160 w 4876800"/>
                <a:gd name="connsiteY3" fmla="*/ 1736231 h 4648200"/>
                <a:gd name="connsiteX4" fmla="*/ 4876800 w 4876800"/>
                <a:gd name="connsiteY4" fmla="*/ 1979901 h 4648200"/>
                <a:gd name="connsiteX5" fmla="*/ 4876800 w 4876800"/>
                <a:gd name="connsiteY5" fmla="*/ 3115238 h 4648200"/>
                <a:gd name="connsiteX6" fmla="*/ 4717223 w 4876800"/>
                <a:gd name="connsiteY6" fmla="*/ 2960531 h 4648200"/>
                <a:gd name="connsiteX7" fmla="*/ 1552986 w 4876800"/>
                <a:gd name="connsiteY7" fmla="*/ 109887 h 4648200"/>
                <a:gd name="connsiteX8" fmla="*/ 4260751 w 4876800"/>
                <a:gd name="connsiteY8" fmla="*/ 4355467 h 4648200"/>
                <a:gd name="connsiteX9" fmla="*/ 4417260 w 4876800"/>
                <a:gd name="connsiteY9" fmla="*/ 4648200 h 4648200"/>
                <a:gd name="connsiteX10" fmla="*/ 390191 w 4876800"/>
                <a:gd name="connsiteY10" fmla="*/ 4648200 h 4648200"/>
                <a:gd name="connsiteX11" fmla="*/ 4695 w 4876800"/>
                <a:gd name="connsiteY11" fmla="*/ 4056511 h 4648200"/>
                <a:gd name="connsiteX12" fmla="*/ 0 w 4876800"/>
                <a:gd name="connsiteY12" fmla="*/ 4024130 h 4648200"/>
                <a:gd name="connsiteX13" fmla="*/ 0 w 4876800"/>
                <a:gd name="connsiteY13" fmla="*/ 2392129 h 4648200"/>
                <a:gd name="connsiteX14" fmla="*/ 160541 w 4876800"/>
                <a:gd name="connsiteY14" fmla="*/ 2447325 h 4648200"/>
                <a:gd name="connsiteX15" fmla="*/ 1735139 w 4876800"/>
                <a:gd name="connsiteY15" fmla="*/ 3206469 h 4648200"/>
                <a:gd name="connsiteX16" fmla="*/ 108175 w 4876800"/>
                <a:gd name="connsiteY16" fmla="*/ 418305 h 4648200"/>
                <a:gd name="connsiteX17" fmla="*/ 0 w 4876800"/>
                <a:gd name="connsiteY17" fmla="*/ 258755 h 464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76800" h="4648200">
                  <a:moveTo>
                    <a:pt x="0" y="0"/>
                  </a:moveTo>
                  <a:lnTo>
                    <a:pt x="2670238" y="0"/>
                  </a:lnTo>
                  <a:lnTo>
                    <a:pt x="3251333" y="517355"/>
                  </a:lnTo>
                  <a:cubicBezTo>
                    <a:pt x="3703273" y="916643"/>
                    <a:pt x="4152812" y="1310328"/>
                    <a:pt x="4616160" y="1736231"/>
                  </a:cubicBezTo>
                  <a:lnTo>
                    <a:pt x="4876800" y="1979901"/>
                  </a:lnTo>
                  <a:lnTo>
                    <a:pt x="4876800" y="3115238"/>
                  </a:lnTo>
                  <a:lnTo>
                    <a:pt x="4717223" y="2960531"/>
                  </a:lnTo>
                  <a:cubicBezTo>
                    <a:pt x="2977630" y="1278774"/>
                    <a:pt x="2656650" y="1112355"/>
                    <a:pt x="1552986" y="109887"/>
                  </a:cubicBezTo>
                  <a:cubicBezTo>
                    <a:pt x="2546389" y="1475815"/>
                    <a:pt x="2400157" y="885368"/>
                    <a:pt x="4260751" y="4355467"/>
                  </a:cubicBezTo>
                  <a:lnTo>
                    <a:pt x="4417260" y="4648200"/>
                  </a:lnTo>
                  <a:lnTo>
                    <a:pt x="390191" y="4648200"/>
                  </a:lnTo>
                  <a:lnTo>
                    <a:pt x="4695" y="4056511"/>
                  </a:lnTo>
                  <a:lnTo>
                    <a:pt x="0" y="4024130"/>
                  </a:lnTo>
                  <a:lnTo>
                    <a:pt x="0" y="2392129"/>
                  </a:lnTo>
                  <a:lnTo>
                    <a:pt x="160541" y="2447325"/>
                  </a:lnTo>
                  <a:cubicBezTo>
                    <a:pt x="586623" y="2597715"/>
                    <a:pt x="1118268" y="2816866"/>
                    <a:pt x="1735139" y="3206469"/>
                  </a:cubicBezTo>
                  <a:cubicBezTo>
                    <a:pt x="1612651" y="2856712"/>
                    <a:pt x="816105" y="1476499"/>
                    <a:pt x="108175" y="418305"/>
                  </a:cubicBezTo>
                  <a:lnTo>
                    <a:pt x="0" y="258755"/>
                  </a:lnTo>
                  <a:close/>
                </a:path>
              </a:pathLst>
            </a:custGeom>
            <a:gradFill>
              <a:gsLst>
                <a:gs pos="100000">
                  <a:srgbClr val="356DCA"/>
                </a:gs>
                <a:gs pos="0">
                  <a:srgbClr val="3067C1">
                    <a:lumMod val="93000"/>
                    <a:lumOff val="7000"/>
                  </a:srgbClr>
                </a:gs>
              </a:gsLst>
              <a:lin ang="18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1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66110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C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CD45725-0FF6-4B65-0D2B-7A5FCDC3F38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Orange Block">
            <a:extLst>
              <a:ext uri="{FF2B5EF4-FFF2-40B4-BE49-F238E27FC236}">
                <a16:creationId xmlns:a16="http://schemas.microsoft.com/office/drawing/2014/main" id="{DB0B598B-C9D6-DAE8-E909-26110C40CEA7}"/>
              </a:ext>
            </a:extLst>
          </p:cNvPr>
          <p:cNvSpPr/>
          <p:nvPr/>
        </p:nvSpPr>
        <p:spPr bwMode="white">
          <a:xfrm>
            <a:off x="0" y="-1"/>
            <a:ext cx="4876800" cy="4680000"/>
          </a:xfrm>
          <a:prstGeom prst="rect">
            <a:avLst/>
          </a:prstGeom>
          <a:gradFill>
            <a:gsLst>
              <a:gs pos="35000">
                <a:srgbClr val="E65A03"/>
              </a:gs>
              <a:gs pos="100000">
                <a:srgbClr val="F07900"/>
              </a:gs>
              <a:gs pos="0">
                <a:srgbClr val="E55703"/>
              </a:gs>
            </a:gsLst>
            <a:lin ang="189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algn="ctr" defTabSz="914377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endParaRPr kumimoji="0" lang="en-PT" sz="1800" b="0" i="0" u="none" strike="noStrike" kern="0" cap="none" spc="0" normalizeH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6" name="Squiggle 2">
            <a:extLst>
              <a:ext uri="{FF2B5EF4-FFF2-40B4-BE49-F238E27FC236}">
                <a16:creationId xmlns:a16="http://schemas.microsoft.com/office/drawing/2014/main" id="{4F9839D8-DD34-BF32-8C9A-D4A351E9EF3D}"/>
              </a:ext>
            </a:extLst>
          </p:cNvPr>
          <p:cNvSpPr/>
          <p:nvPr/>
        </p:nvSpPr>
        <p:spPr>
          <a:xfrm>
            <a:off x="406401" y="1949493"/>
            <a:ext cx="4458343" cy="2730506"/>
          </a:xfrm>
          <a:custGeom>
            <a:avLst/>
            <a:gdLst>
              <a:gd name="connsiteX0" fmla="*/ 4458342 w 4458342"/>
              <a:gd name="connsiteY0" fmla="*/ 68 h 2730506"/>
              <a:gd name="connsiteX1" fmla="*/ 4448817 w 4458342"/>
              <a:gd name="connsiteY1" fmla="*/ 2721043 h 2730506"/>
              <a:gd name="connsiteX2" fmla="*/ 4174621 w 4458342"/>
              <a:gd name="connsiteY2" fmla="*/ 2728793 h 2730506"/>
              <a:gd name="connsiteX3" fmla="*/ 4144911 w 4458342"/>
              <a:gd name="connsiteY3" fmla="*/ 2730506 h 2730506"/>
              <a:gd name="connsiteX4" fmla="*/ 2623679 w 4458342"/>
              <a:gd name="connsiteY4" fmla="*/ 2730506 h 2730506"/>
              <a:gd name="connsiteX5" fmla="*/ 2661479 w 4458342"/>
              <a:gd name="connsiteY5" fmla="*/ 2630001 h 2730506"/>
              <a:gd name="connsiteX6" fmla="*/ 3376488 w 4458342"/>
              <a:gd name="connsiteY6" fmla="*/ 1150378 h 2730506"/>
              <a:gd name="connsiteX7" fmla="*/ 2275273 w 4458342"/>
              <a:gd name="connsiteY7" fmla="*/ 1976289 h 2730506"/>
              <a:gd name="connsiteX8" fmla="*/ 1294379 w 4458342"/>
              <a:gd name="connsiteY8" fmla="*/ 2730506 h 2730506"/>
              <a:gd name="connsiteX9" fmla="*/ 0 w 4458342"/>
              <a:gd name="connsiteY9" fmla="*/ 2730506 h 2730506"/>
              <a:gd name="connsiteX10" fmla="*/ 74915 w 4458342"/>
              <a:gd name="connsiteY10" fmla="*/ 2634677 h 2730506"/>
              <a:gd name="connsiteX11" fmla="*/ 2197742 w 4458342"/>
              <a:gd name="connsiteY11" fmla="*/ 1114493 h 2730506"/>
              <a:gd name="connsiteX12" fmla="*/ 4458342 w 4458342"/>
              <a:gd name="connsiteY12" fmla="*/ 68 h 2730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58342" h="2730506">
                <a:moveTo>
                  <a:pt x="4458342" y="68"/>
                </a:moveTo>
                <a:lnTo>
                  <a:pt x="4448817" y="2721043"/>
                </a:lnTo>
                <a:cubicBezTo>
                  <a:pt x="4362232" y="2721837"/>
                  <a:pt x="4270538" y="2724522"/>
                  <a:pt x="4174621" y="2728793"/>
                </a:cubicBezTo>
                <a:lnTo>
                  <a:pt x="4144911" y="2730506"/>
                </a:lnTo>
                <a:lnTo>
                  <a:pt x="2623679" y="2730506"/>
                </a:lnTo>
                <a:lnTo>
                  <a:pt x="2661479" y="2630001"/>
                </a:lnTo>
                <a:cubicBezTo>
                  <a:pt x="2867822" y="2113582"/>
                  <a:pt x="3178614" y="1530354"/>
                  <a:pt x="3376488" y="1150378"/>
                </a:cubicBezTo>
                <a:lnTo>
                  <a:pt x="2275273" y="1976289"/>
                </a:lnTo>
                <a:lnTo>
                  <a:pt x="1294379" y="2730506"/>
                </a:lnTo>
                <a:lnTo>
                  <a:pt x="0" y="2730506"/>
                </a:lnTo>
                <a:lnTo>
                  <a:pt x="74915" y="2634677"/>
                </a:lnTo>
                <a:cubicBezTo>
                  <a:pt x="465021" y="2199819"/>
                  <a:pt x="1632451" y="1506964"/>
                  <a:pt x="2197742" y="1114493"/>
                </a:cubicBezTo>
                <a:cubicBezTo>
                  <a:pt x="2951463" y="591198"/>
                  <a:pt x="4424475" y="-7340"/>
                  <a:pt x="4458342" y="68"/>
                </a:cubicBezTo>
                <a:close/>
              </a:path>
            </a:pathLst>
          </a:custGeom>
          <a:gradFill>
            <a:gsLst>
              <a:gs pos="70000">
                <a:srgbClr val="E86301"/>
              </a:gs>
              <a:gs pos="35000">
                <a:srgbClr val="E86101"/>
              </a:gs>
              <a:gs pos="100000">
                <a:srgbClr val="E86101"/>
              </a:gs>
              <a:gs pos="0">
                <a:srgbClr val="E86201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Squiggle 1">
            <a:extLst>
              <a:ext uri="{FF2B5EF4-FFF2-40B4-BE49-F238E27FC236}">
                <a16:creationId xmlns:a16="http://schemas.microsoft.com/office/drawing/2014/main" id="{C37ACE55-304C-EC98-D7F7-78C4D2DAA204}"/>
              </a:ext>
            </a:extLst>
          </p:cNvPr>
          <p:cNvSpPr/>
          <p:nvPr/>
        </p:nvSpPr>
        <p:spPr>
          <a:xfrm>
            <a:off x="12701" y="12700"/>
            <a:ext cx="3143251" cy="4076700"/>
          </a:xfrm>
          <a:custGeom>
            <a:avLst/>
            <a:gdLst>
              <a:gd name="connsiteX0" fmla="*/ 0 w 3143251"/>
              <a:gd name="connsiteY0" fmla="*/ 0 h 4076700"/>
              <a:gd name="connsiteX1" fmla="*/ 3143251 w 3143251"/>
              <a:gd name="connsiteY1" fmla="*/ 0 h 4076700"/>
              <a:gd name="connsiteX2" fmla="*/ 1743076 w 3143251"/>
              <a:gd name="connsiteY2" fmla="*/ 1943100 h 4076700"/>
              <a:gd name="connsiteX3" fmla="*/ 0 w 3143251"/>
              <a:gd name="connsiteY3" fmla="*/ 4076700 h 4076700"/>
              <a:gd name="connsiteX4" fmla="*/ 0 w 3143251"/>
              <a:gd name="connsiteY4" fmla="*/ 2040508 h 4076700"/>
              <a:gd name="connsiteX5" fmla="*/ 21267 w 3143251"/>
              <a:gd name="connsiteY5" fmla="*/ 2008537 h 4076700"/>
              <a:gd name="connsiteX6" fmla="*/ 460479 w 3143251"/>
              <a:gd name="connsiteY6" fmla="*/ 1482537 h 4076700"/>
              <a:gd name="connsiteX7" fmla="*/ 10638 w 3143251"/>
              <a:gd name="connsiteY7" fmla="*/ 1717593 h 4076700"/>
              <a:gd name="connsiteX8" fmla="*/ 0 w 3143251"/>
              <a:gd name="connsiteY8" fmla="*/ 172251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43251" h="4076700">
                <a:moveTo>
                  <a:pt x="0" y="0"/>
                </a:moveTo>
                <a:lnTo>
                  <a:pt x="3143251" y="0"/>
                </a:lnTo>
                <a:cubicBezTo>
                  <a:pt x="2781301" y="647700"/>
                  <a:pt x="2209801" y="1295400"/>
                  <a:pt x="1743076" y="1943100"/>
                </a:cubicBezTo>
                <a:cubicBezTo>
                  <a:pt x="1219201" y="2622550"/>
                  <a:pt x="871538" y="3009900"/>
                  <a:pt x="0" y="4076700"/>
                </a:cubicBezTo>
                <a:lnTo>
                  <a:pt x="0" y="2040508"/>
                </a:lnTo>
                <a:lnTo>
                  <a:pt x="21267" y="2008537"/>
                </a:lnTo>
                <a:cubicBezTo>
                  <a:pt x="166305" y="1796335"/>
                  <a:pt x="232480" y="1770389"/>
                  <a:pt x="460479" y="1482537"/>
                </a:cubicBezTo>
                <a:lnTo>
                  <a:pt x="10638" y="1717593"/>
                </a:lnTo>
                <a:lnTo>
                  <a:pt x="0" y="1722510"/>
                </a:lnTo>
                <a:close/>
              </a:path>
            </a:pathLst>
          </a:custGeom>
          <a:gradFill>
            <a:gsLst>
              <a:gs pos="70000">
                <a:srgbClr val="EB6A01"/>
              </a:gs>
              <a:gs pos="35000">
                <a:srgbClr val="EA6801"/>
              </a:gs>
              <a:gs pos="100000">
                <a:srgbClr val="EB6A01"/>
              </a:gs>
              <a:gs pos="0">
                <a:srgbClr val="EB6A01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1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1114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528A10-E9D5-56B2-BAA2-A2CFEBBCA5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Green Block">
            <a:extLst>
              <a:ext uri="{FF2B5EF4-FFF2-40B4-BE49-F238E27FC236}">
                <a16:creationId xmlns:a16="http://schemas.microsoft.com/office/drawing/2014/main" id="{61D5DE2B-4FC1-5593-B3EE-6E52BCCF57EB}"/>
              </a:ext>
            </a:extLst>
          </p:cNvPr>
          <p:cNvSpPr/>
          <p:nvPr/>
        </p:nvSpPr>
        <p:spPr bwMode="white">
          <a:xfrm>
            <a:off x="0" y="1"/>
            <a:ext cx="4876800" cy="4680000"/>
          </a:xfrm>
          <a:prstGeom prst="rect">
            <a:avLst/>
          </a:prstGeom>
          <a:gradFill>
            <a:gsLst>
              <a:gs pos="100000">
                <a:srgbClr val="00B8E1"/>
              </a:gs>
              <a:gs pos="0">
                <a:srgbClr val="00BF34"/>
              </a:gs>
            </a:gsLst>
            <a:lin ang="189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algn="ctr" defTabSz="914377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endParaRPr kumimoji="0" lang="en-PT" sz="1800" b="0" i="0" u="none" strike="noStrike" kern="0" cap="none" spc="0" normalizeH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11" name="Squiggle 2">
            <a:extLst>
              <a:ext uri="{FF2B5EF4-FFF2-40B4-BE49-F238E27FC236}">
                <a16:creationId xmlns:a16="http://schemas.microsoft.com/office/drawing/2014/main" id="{8CC02ACD-8210-40F4-BF0E-D9A8942532F0}"/>
              </a:ext>
            </a:extLst>
          </p:cNvPr>
          <p:cNvSpPr/>
          <p:nvPr/>
        </p:nvSpPr>
        <p:spPr>
          <a:xfrm>
            <a:off x="406401" y="1949495"/>
            <a:ext cx="4458343" cy="2730506"/>
          </a:xfrm>
          <a:custGeom>
            <a:avLst/>
            <a:gdLst>
              <a:gd name="connsiteX0" fmla="*/ 4458342 w 4458342"/>
              <a:gd name="connsiteY0" fmla="*/ 68 h 2730506"/>
              <a:gd name="connsiteX1" fmla="*/ 4448817 w 4458342"/>
              <a:gd name="connsiteY1" fmla="*/ 2721043 h 2730506"/>
              <a:gd name="connsiteX2" fmla="*/ 4174621 w 4458342"/>
              <a:gd name="connsiteY2" fmla="*/ 2728793 h 2730506"/>
              <a:gd name="connsiteX3" fmla="*/ 4144911 w 4458342"/>
              <a:gd name="connsiteY3" fmla="*/ 2730506 h 2730506"/>
              <a:gd name="connsiteX4" fmla="*/ 2623679 w 4458342"/>
              <a:gd name="connsiteY4" fmla="*/ 2730506 h 2730506"/>
              <a:gd name="connsiteX5" fmla="*/ 2661479 w 4458342"/>
              <a:gd name="connsiteY5" fmla="*/ 2630001 h 2730506"/>
              <a:gd name="connsiteX6" fmla="*/ 3376488 w 4458342"/>
              <a:gd name="connsiteY6" fmla="*/ 1150378 h 2730506"/>
              <a:gd name="connsiteX7" fmla="*/ 2275273 w 4458342"/>
              <a:gd name="connsiteY7" fmla="*/ 1976289 h 2730506"/>
              <a:gd name="connsiteX8" fmla="*/ 1294379 w 4458342"/>
              <a:gd name="connsiteY8" fmla="*/ 2730506 h 2730506"/>
              <a:gd name="connsiteX9" fmla="*/ 0 w 4458342"/>
              <a:gd name="connsiteY9" fmla="*/ 2730506 h 2730506"/>
              <a:gd name="connsiteX10" fmla="*/ 74915 w 4458342"/>
              <a:gd name="connsiteY10" fmla="*/ 2634677 h 2730506"/>
              <a:gd name="connsiteX11" fmla="*/ 2197742 w 4458342"/>
              <a:gd name="connsiteY11" fmla="*/ 1114493 h 2730506"/>
              <a:gd name="connsiteX12" fmla="*/ 4458342 w 4458342"/>
              <a:gd name="connsiteY12" fmla="*/ 68 h 2730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58342" h="2730506">
                <a:moveTo>
                  <a:pt x="4458342" y="68"/>
                </a:moveTo>
                <a:lnTo>
                  <a:pt x="4448817" y="2721043"/>
                </a:lnTo>
                <a:cubicBezTo>
                  <a:pt x="4362232" y="2721837"/>
                  <a:pt x="4270538" y="2724522"/>
                  <a:pt x="4174621" y="2728793"/>
                </a:cubicBezTo>
                <a:lnTo>
                  <a:pt x="4144911" y="2730506"/>
                </a:lnTo>
                <a:lnTo>
                  <a:pt x="2623679" y="2730506"/>
                </a:lnTo>
                <a:lnTo>
                  <a:pt x="2661479" y="2630001"/>
                </a:lnTo>
                <a:cubicBezTo>
                  <a:pt x="2867822" y="2113582"/>
                  <a:pt x="3178614" y="1530354"/>
                  <a:pt x="3376488" y="1150378"/>
                </a:cubicBezTo>
                <a:lnTo>
                  <a:pt x="2275273" y="1976289"/>
                </a:lnTo>
                <a:lnTo>
                  <a:pt x="1294379" y="2730506"/>
                </a:lnTo>
                <a:lnTo>
                  <a:pt x="0" y="2730506"/>
                </a:lnTo>
                <a:lnTo>
                  <a:pt x="74915" y="2634677"/>
                </a:lnTo>
                <a:cubicBezTo>
                  <a:pt x="465021" y="2199819"/>
                  <a:pt x="1632451" y="1506964"/>
                  <a:pt x="2197742" y="1114493"/>
                </a:cubicBezTo>
                <a:cubicBezTo>
                  <a:pt x="2951463" y="591198"/>
                  <a:pt x="4424475" y="-7340"/>
                  <a:pt x="4458342" y="68"/>
                </a:cubicBezTo>
                <a:close/>
              </a:path>
            </a:pathLst>
          </a:custGeom>
          <a:gradFill>
            <a:gsLst>
              <a:gs pos="70000">
                <a:srgbClr val="00B9B4"/>
              </a:gs>
              <a:gs pos="35000">
                <a:srgbClr val="00BAA8"/>
              </a:gs>
              <a:gs pos="100000">
                <a:srgbClr val="00B9BD"/>
              </a:gs>
              <a:gs pos="0">
                <a:srgbClr val="00BAA0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Squiggle 1">
            <a:extLst>
              <a:ext uri="{FF2B5EF4-FFF2-40B4-BE49-F238E27FC236}">
                <a16:creationId xmlns:a16="http://schemas.microsoft.com/office/drawing/2014/main" id="{1685A533-6680-6637-C9CD-3D80C64A7375}"/>
              </a:ext>
            </a:extLst>
          </p:cNvPr>
          <p:cNvSpPr/>
          <p:nvPr/>
        </p:nvSpPr>
        <p:spPr>
          <a:xfrm>
            <a:off x="12701" y="12700"/>
            <a:ext cx="3143251" cy="4076700"/>
          </a:xfrm>
          <a:custGeom>
            <a:avLst/>
            <a:gdLst>
              <a:gd name="connsiteX0" fmla="*/ 0 w 3143251"/>
              <a:gd name="connsiteY0" fmla="*/ 0 h 4076700"/>
              <a:gd name="connsiteX1" fmla="*/ 3143251 w 3143251"/>
              <a:gd name="connsiteY1" fmla="*/ 0 h 4076700"/>
              <a:gd name="connsiteX2" fmla="*/ 1743076 w 3143251"/>
              <a:gd name="connsiteY2" fmla="*/ 1943100 h 4076700"/>
              <a:gd name="connsiteX3" fmla="*/ 0 w 3143251"/>
              <a:gd name="connsiteY3" fmla="*/ 4076700 h 4076700"/>
              <a:gd name="connsiteX4" fmla="*/ 0 w 3143251"/>
              <a:gd name="connsiteY4" fmla="*/ 2040508 h 4076700"/>
              <a:gd name="connsiteX5" fmla="*/ 21267 w 3143251"/>
              <a:gd name="connsiteY5" fmla="*/ 2008537 h 4076700"/>
              <a:gd name="connsiteX6" fmla="*/ 460479 w 3143251"/>
              <a:gd name="connsiteY6" fmla="*/ 1482537 h 4076700"/>
              <a:gd name="connsiteX7" fmla="*/ 10638 w 3143251"/>
              <a:gd name="connsiteY7" fmla="*/ 1717593 h 4076700"/>
              <a:gd name="connsiteX8" fmla="*/ 0 w 3143251"/>
              <a:gd name="connsiteY8" fmla="*/ 172251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43251" h="4076700">
                <a:moveTo>
                  <a:pt x="0" y="0"/>
                </a:moveTo>
                <a:lnTo>
                  <a:pt x="3143251" y="0"/>
                </a:lnTo>
                <a:cubicBezTo>
                  <a:pt x="2781301" y="647700"/>
                  <a:pt x="2209801" y="1295400"/>
                  <a:pt x="1743076" y="1943100"/>
                </a:cubicBezTo>
                <a:cubicBezTo>
                  <a:pt x="1219201" y="2622550"/>
                  <a:pt x="871538" y="3009900"/>
                  <a:pt x="0" y="4076700"/>
                </a:cubicBezTo>
                <a:lnTo>
                  <a:pt x="0" y="2040508"/>
                </a:lnTo>
                <a:lnTo>
                  <a:pt x="21267" y="2008537"/>
                </a:lnTo>
                <a:cubicBezTo>
                  <a:pt x="166305" y="1796335"/>
                  <a:pt x="232480" y="1770389"/>
                  <a:pt x="460479" y="1482537"/>
                </a:cubicBezTo>
                <a:lnTo>
                  <a:pt x="10638" y="1717593"/>
                </a:lnTo>
                <a:lnTo>
                  <a:pt x="0" y="1722510"/>
                </a:lnTo>
                <a:close/>
              </a:path>
            </a:pathLst>
          </a:custGeom>
          <a:gradFill>
            <a:gsLst>
              <a:gs pos="70000">
                <a:srgbClr val="00BB8B"/>
              </a:gs>
              <a:gs pos="35000">
                <a:srgbClr val="00BC8B"/>
              </a:gs>
              <a:gs pos="100000">
                <a:srgbClr val="00BA9A"/>
              </a:gs>
              <a:gs pos="0">
                <a:srgbClr val="00BC69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1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50422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7A49053-BE6C-1C4D-CB70-DBBAF999C80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2687011-3214-FD25-1181-F605A9CA6455}"/>
              </a:ext>
            </a:extLst>
          </p:cNvPr>
          <p:cNvSpPr/>
          <p:nvPr userDrawn="1"/>
        </p:nvSpPr>
        <p:spPr bwMode="white">
          <a:xfrm>
            <a:off x="0" y="-1"/>
            <a:ext cx="4876800" cy="4680000"/>
          </a:xfrm>
          <a:prstGeom prst="rect">
            <a:avLst/>
          </a:prstGeom>
          <a:gradFill flip="none" rotWithShape="1">
            <a:gsLst>
              <a:gs pos="50000">
                <a:srgbClr val="3AAEF6"/>
              </a:gs>
              <a:gs pos="100000">
                <a:srgbClr val="4F9DFD"/>
              </a:gs>
              <a:gs pos="0">
                <a:srgbClr val="04B8E2"/>
              </a:gs>
            </a:gsLst>
            <a:lin ang="18000000" scaled="0"/>
            <a:tileRect/>
          </a:gradFill>
        </p:spPr>
        <p:txBody>
          <a:bodyPr rtlCol="0" anchor="ctr"/>
          <a:lstStyle/>
          <a:p>
            <a:pPr marR="0" lvl="0" algn="ctr" defTabSz="914377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endParaRPr kumimoji="0" lang="en-PT" sz="1800" b="0" i="0" u="none" strike="noStrike" kern="0" cap="none" spc="0" normalizeH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6" name="Squiggle">
            <a:extLst>
              <a:ext uri="{FF2B5EF4-FFF2-40B4-BE49-F238E27FC236}">
                <a16:creationId xmlns:a16="http://schemas.microsoft.com/office/drawing/2014/main" id="{18F540EF-87D8-0E44-F690-9F7604110481}"/>
              </a:ext>
            </a:extLst>
          </p:cNvPr>
          <p:cNvSpPr/>
          <p:nvPr/>
        </p:nvSpPr>
        <p:spPr>
          <a:xfrm>
            <a:off x="0" y="0"/>
            <a:ext cx="4876800" cy="4680000"/>
          </a:xfrm>
          <a:custGeom>
            <a:avLst/>
            <a:gdLst>
              <a:gd name="connsiteX0" fmla="*/ 4876800 w 4876800"/>
              <a:gd name="connsiteY0" fmla="*/ 3948026 h 4648200"/>
              <a:gd name="connsiteX1" fmla="*/ 4876800 w 4876800"/>
              <a:gd name="connsiteY1" fmla="*/ 4648200 h 4648200"/>
              <a:gd name="connsiteX2" fmla="*/ 3641772 w 4876800"/>
              <a:gd name="connsiteY2" fmla="*/ 4648200 h 4648200"/>
              <a:gd name="connsiteX3" fmla="*/ 2979537 w 4876800"/>
              <a:gd name="connsiteY3" fmla="*/ 0 h 4648200"/>
              <a:gd name="connsiteX4" fmla="*/ 4799703 w 4876800"/>
              <a:gd name="connsiteY4" fmla="*/ 0 h 4648200"/>
              <a:gd name="connsiteX5" fmla="*/ 4807781 w 4876800"/>
              <a:gd name="connsiteY5" fmla="*/ 25078 h 4648200"/>
              <a:gd name="connsiteX6" fmla="*/ 4876075 w 4876800"/>
              <a:gd name="connsiteY6" fmla="*/ 276777 h 4648200"/>
              <a:gd name="connsiteX7" fmla="*/ 4876800 w 4876800"/>
              <a:gd name="connsiteY7" fmla="*/ 279858 h 4648200"/>
              <a:gd name="connsiteX8" fmla="*/ 4876800 w 4876800"/>
              <a:gd name="connsiteY8" fmla="*/ 2099726 h 4648200"/>
              <a:gd name="connsiteX9" fmla="*/ 3571982 w 4876800"/>
              <a:gd name="connsiteY9" fmla="*/ 4648200 h 4648200"/>
              <a:gd name="connsiteX10" fmla="*/ 57811 w 4876800"/>
              <a:gd name="connsiteY10" fmla="*/ 4648200 h 4648200"/>
              <a:gd name="connsiteX11" fmla="*/ 671862 w 4876800"/>
              <a:gd name="connsiteY11" fmla="*/ 0 h 4648200"/>
              <a:gd name="connsiteX12" fmla="*/ 2817209 w 4876800"/>
              <a:gd name="connsiteY12" fmla="*/ 0 h 4648200"/>
              <a:gd name="connsiteX13" fmla="*/ 0 w 4876800"/>
              <a:gd name="connsiteY13" fmla="*/ 2583289 h 4648200"/>
              <a:gd name="connsiteX14" fmla="*/ 0 w 4876800"/>
              <a:gd name="connsiteY14" fmla="*/ 534044 h 464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876800" h="4648200">
                <a:moveTo>
                  <a:pt x="4876800" y="3948026"/>
                </a:moveTo>
                <a:lnTo>
                  <a:pt x="4876800" y="4648200"/>
                </a:lnTo>
                <a:lnTo>
                  <a:pt x="3641772" y="4648200"/>
                </a:lnTo>
                <a:close/>
                <a:moveTo>
                  <a:pt x="2979537" y="0"/>
                </a:moveTo>
                <a:lnTo>
                  <a:pt x="4799703" y="0"/>
                </a:lnTo>
                <a:lnTo>
                  <a:pt x="4807781" y="25078"/>
                </a:lnTo>
                <a:cubicBezTo>
                  <a:pt x="4831182" y="102611"/>
                  <a:pt x="4853944" y="186832"/>
                  <a:pt x="4876075" y="276777"/>
                </a:cubicBezTo>
                <a:lnTo>
                  <a:pt x="4876800" y="279858"/>
                </a:lnTo>
                <a:lnTo>
                  <a:pt x="4876800" y="2099726"/>
                </a:lnTo>
                <a:lnTo>
                  <a:pt x="3571982" y="4648200"/>
                </a:lnTo>
                <a:lnTo>
                  <a:pt x="57811" y="4648200"/>
                </a:lnTo>
                <a:close/>
                <a:moveTo>
                  <a:pt x="671862" y="0"/>
                </a:moveTo>
                <a:lnTo>
                  <a:pt x="2817209" y="0"/>
                </a:lnTo>
                <a:lnTo>
                  <a:pt x="0" y="2583289"/>
                </a:lnTo>
                <a:lnTo>
                  <a:pt x="0" y="534044"/>
                </a:lnTo>
                <a:close/>
              </a:path>
            </a:pathLst>
          </a:custGeom>
          <a:gradFill>
            <a:gsLst>
              <a:gs pos="100000">
                <a:srgbClr val="399BF5"/>
              </a:gs>
              <a:gs pos="0">
                <a:srgbClr val="26A4EE"/>
              </a:gs>
            </a:gsLst>
            <a:lin ang="16200000" scaled="0"/>
          </a:gra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03200" tIns="203200" rIns="203200" bIns="203200" rtlCol="0" anchor="ctr">
            <a:noAutofit/>
          </a:bodyPr>
          <a:lstStyle/>
          <a:p>
            <a:pPr algn="ctr" defTabSz="485988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19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046110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801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9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5988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41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528A10-E9D5-56B2-BAA2-A2CFEBBCA5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Green Block">
            <a:extLst>
              <a:ext uri="{FF2B5EF4-FFF2-40B4-BE49-F238E27FC236}">
                <a16:creationId xmlns:a16="http://schemas.microsoft.com/office/drawing/2014/main" id="{61D5DE2B-4FC1-5593-B3EE-6E52BCCF57EB}"/>
              </a:ext>
            </a:extLst>
          </p:cNvPr>
          <p:cNvSpPr/>
          <p:nvPr/>
        </p:nvSpPr>
        <p:spPr bwMode="white">
          <a:xfrm>
            <a:off x="0" y="1"/>
            <a:ext cx="4876800" cy="4680000"/>
          </a:xfrm>
          <a:prstGeom prst="rect">
            <a:avLst/>
          </a:prstGeom>
          <a:gradFill>
            <a:gsLst>
              <a:gs pos="100000">
                <a:srgbClr val="00B8E1"/>
              </a:gs>
              <a:gs pos="0">
                <a:srgbClr val="00BF34"/>
              </a:gs>
            </a:gsLst>
            <a:lin ang="189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algn="ctr" defTabSz="91440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endParaRPr kumimoji="0" lang="en-PT" b="0" i="0" u="none" strike="noStrike" kern="0" cap="none" spc="0" normalizeH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11" name="Squiggle 2">
            <a:extLst>
              <a:ext uri="{FF2B5EF4-FFF2-40B4-BE49-F238E27FC236}">
                <a16:creationId xmlns:a16="http://schemas.microsoft.com/office/drawing/2014/main" id="{8CC02ACD-8210-40F4-BF0E-D9A8942532F0}"/>
              </a:ext>
            </a:extLst>
          </p:cNvPr>
          <p:cNvSpPr/>
          <p:nvPr/>
        </p:nvSpPr>
        <p:spPr>
          <a:xfrm>
            <a:off x="406400" y="1949495"/>
            <a:ext cx="4458342" cy="2730506"/>
          </a:xfrm>
          <a:custGeom>
            <a:avLst/>
            <a:gdLst>
              <a:gd name="connsiteX0" fmla="*/ 4458342 w 4458342"/>
              <a:gd name="connsiteY0" fmla="*/ 68 h 2730506"/>
              <a:gd name="connsiteX1" fmla="*/ 4448817 w 4458342"/>
              <a:gd name="connsiteY1" fmla="*/ 2721043 h 2730506"/>
              <a:gd name="connsiteX2" fmla="*/ 4174621 w 4458342"/>
              <a:gd name="connsiteY2" fmla="*/ 2728793 h 2730506"/>
              <a:gd name="connsiteX3" fmla="*/ 4144911 w 4458342"/>
              <a:gd name="connsiteY3" fmla="*/ 2730506 h 2730506"/>
              <a:gd name="connsiteX4" fmla="*/ 2623679 w 4458342"/>
              <a:gd name="connsiteY4" fmla="*/ 2730506 h 2730506"/>
              <a:gd name="connsiteX5" fmla="*/ 2661479 w 4458342"/>
              <a:gd name="connsiteY5" fmla="*/ 2630001 h 2730506"/>
              <a:gd name="connsiteX6" fmla="*/ 3376488 w 4458342"/>
              <a:gd name="connsiteY6" fmla="*/ 1150378 h 2730506"/>
              <a:gd name="connsiteX7" fmla="*/ 2275273 w 4458342"/>
              <a:gd name="connsiteY7" fmla="*/ 1976289 h 2730506"/>
              <a:gd name="connsiteX8" fmla="*/ 1294379 w 4458342"/>
              <a:gd name="connsiteY8" fmla="*/ 2730506 h 2730506"/>
              <a:gd name="connsiteX9" fmla="*/ 0 w 4458342"/>
              <a:gd name="connsiteY9" fmla="*/ 2730506 h 2730506"/>
              <a:gd name="connsiteX10" fmla="*/ 74915 w 4458342"/>
              <a:gd name="connsiteY10" fmla="*/ 2634677 h 2730506"/>
              <a:gd name="connsiteX11" fmla="*/ 2197742 w 4458342"/>
              <a:gd name="connsiteY11" fmla="*/ 1114493 h 2730506"/>
              <a:gd name="connsiteX12" fmla="*/ 4458342 w 4458342"/>
              <a:gd name="connsiteY12" fmla="*/ 68 h 2730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58342" h="2730506">
                <a:moveTo>
                  <a:pt x="4458342" y="68"/>
                </a:moveTo>
                <a:lnTo>
                  <a:pt x="4448817" y="2721043"/>
                </a:lnTo>
                <a:cubicBezTo>
                  <a:pt x="4362232" y="2721837"/>
                  <a:pt x="4270538" y="2724522"/>
                  <a:pt x="4174621" y="2728793"/>
                </a:cubicBezTo>
                <a:lnTo>
                  <a:pt x="4144911" y="2730506"/>
                </a:lnTo>
                <a:lnTo>
                  <a:pt x="2623679" y="2730506"/>
                </a:lnTo>
                <a:lnTo>
                  <a:pt x="2661479" y="2630001"/>
                </a:lnTo>
                <a:cubicBezTo>
                  <a:pt x="2867822" y="2113582"/>
                  <a:pt x="3178614" y="1530354"/>
                  <a:pt x="3376488" y="1150378"/>
                </a:cubicBezTo>
                <a:lnTo>
                  <a:pt x="2275273" y="1976289"/>
                </a:lnTo>
                <a:lnTo>
                  <a:pt x="1294379" y="2730506"/>
                </a:lnTo>
                <a:lnTo>
                  <a:pt x="0" y="2730506"/>
                </a:lnTo>
                <a:lnTo>
                  <a:pt x="74915" y="2634677"/>
                </a:lnTo>
                <a:cubicBezTo>
                  <a:pt x="465021" y="2199819"/>
                  <a:pt x="1632451" y="1506964"/>
                  <a:pt x="2197742" y="1114493"/>
                </a:cubicBezTo>
                <a:cubicBezTo>
                  <a:pt x="2951463" y="591198"/>
                  <a:pt x="4424475" y="-7340"/>
                  <a:pt x="4458342" y="68"/>
                </a:cubicBezTo>
                <a:close/>
              </a:path>
            </a:pathLst>
          </a:custGeom>
          <a:gradFill>
            <a:gsLst>
              <a:gs pos="70000">
                <a:srgbClr val="00B9B4"/>
              </a:gs>
              <a:gs pos="35000">
                <a:srgbClr val="00BAA8"/>
              </a:gs>
              <a:gs pos="100000">
                <a:srgbClr val="00B9BD"/>
              </a:gs>
              <a:gs pos="0">
                <a:srgbClr val="00BAA0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Squiggle 1">
            <a:extLst>
              <a:ext uri="{FF2B5EF4-FFF2-40B4-BE49-F238E27FC236}">
                <a16:creationId xmlns:a16="http://schemas.microsoft.com/office/drawing/2014/main" id="{1685A533-6680-6637-C9CD-3D80C64A7375}"/>
              </a:ext>
            </a:extLst>
          </p:cNvPr>
          <p:cNvSpPr/>
          <p:nvPr/>
        </p:nvSpPr>
        <p:spPr>
          <a:xfrm>
            <a:off x="12700" y="12700"/>
            <a:ext cx="3143251" cy="4076700"/>
          </a:xfrm>
          <a:custGeom>
            <a:avLst/>
            <a:gdLst>
              <a:gd name="connsiteX0" fmla="*/ 0 w 3143251"/>
              <a:gd name="connsiteY0" fmla="*/ 0 h 4076700"/>
              <a:gd name="connsiteX1" fmla="*/ 3143251 w 3143251"/>
              <a:gd name="connsiteY1" fmla="*/ 0 h 4076700"/>
              <a:gd name="connsiteX2" fmla="*/ 1743076 w 3143251"/>
              <a:gd name="connsiteY2" fmla="*/ 1943100 h 4076700"/>
              <a:gd name="connsiteX3" fmla="*/ 0 w 3143251"/>
              <a:gd name="connsiteY3" fmla="*/ 4076700 h 4076700"/>
              <a:gd name="connsiteX4" fmla="*/ 0 w 3143251"/>
              <a:gd name="connsiteY4" fmla="*/ 2040508 h 4076700"/>
              <a:gd name="connsiteX5" fmla="*/ 21267 w 3143251"/>
              <a:gd name="connsiteY5" fmla="*/ 2008537 h 4076700"/>
              <a:gd name="connsiteX6" fmla="*/ 460479 w 3143251"/>
              <a:gd name="connsiteY6" fmla="*/ 1482537 h 4076700"/>
              <a:gd name="connsiteX7" fmla="*/ 10638 w 3143251"/>
              <a:gd name="connsiteY7" fmla="*/ 1717593 h 4076700"/>
              <a:gd name="connsiteX8" fmla="*/ 0 w 3143251"/>
              <a:gd name="connsiteY8" fmla="*/ 172251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43251" h="4076700">
                <a:moveTo>
                  <a:pt x="0" y="0"/>
                </a:moveTo>
                <a:lnTo>
                  <a:pt x="3143251" y="0"/>
                </a:lnTo>
                <a:cubicBezTo>
                  <a:pt x="2781301" y="647700"/>
                  <a:pt x="2209801" y="1295400"/>
                  <a:pt x="1743076" y="1943100"/>
                </a:cubicBezTo>
                <a:cubicBezTo>
                  <a:pt x="1219201" y="2622550"/>
                  <a:pt x="871538" y="3009900"/>
                  <a:pt x="0" y="4076700"/>
                </a:cubicBezTo>
                <a:lnTo>
                  <a:pt x="0" y="2040508"/>
                </a:lnTo>
                <a:lnTo>
                  <a:pt x="21267" y="2008537"/>
                </a:lnTo>
                <a:cubicBezTo>
                  <a:pt x="166305" y="1796335"/>
                  <a:pt x="232480" y="1770389"/>
                  <a:pt x="460479" y="1482537"/>
                </a:cubicBezTo>
                <a:lnTo>
                  <a:pt x="10638" y="1717593"/>
                </a:lnTo>
                <a:lnTo>
                  <a:pt x="0" y="1722510"/>
                </a:lnTo>
                <a:close/>
              </a:path>
            </a:pathLst>
          </a:custGeom>
          <a:gradFill>
            <a:gsLst>
              <a:gs pos="70000">
                <a:srgbClr val="00BB8B"/>
              </a:gs>
              <a:gs pos="35000">
                <a:srgbClr val="00BC8B"/>
              </a:gs>
              <a:gs pos="100000">
                <a:srgbClr val="00BA9A"/>
              </a:gs>
              <a:gs pos="0">
                <a:srgbClr val="00BC69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250422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C (Mid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801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9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5988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232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CC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801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9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5988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806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 CE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801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9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5988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260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 (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2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801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9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5988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7984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338A8E-AC52-8E78-8332-38A3B4F13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16944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a16="http://schemas.microsoft.com/office/drawing/2014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>
            <a:extLst>
              <a:ext uri="{FF2B5EF4-FFF2-40B4-BE49-F238E27FC236}">
                <a16:creationId xmlns:a16="http://schemas.microsoft.com/office/drawing/2014/main" id="{DB4EAF0F-926C-C687-2CAB-EBECD17C8A7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2001" y="1700808"/>
            <a:ext cx="11088001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034C86-AB12-63AB-0C99-237B154741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C48087-4076-5754-C666-1808BF3AAA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2001" y="956762"/>
            <a:ext cx="11088001" cy="312009"/>
          </a:xfrm>
        </p:spPr>
        <p:txBody>
          <a:bodyPr/>
          <a:lstStyle>
            <a:lvl1pPr>
              <a:defRPr lang="en-GB" sz="2000" b="0" i="0" kern="1200" spc="0" baseline="0" dirty="0">
                <a:solidFill>
                  <a:schemeClr val="accent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lvl="0" indent="0" algn="l" defTabSz="971976" rtl="0" eaLnBrk="1" latinLnBrk="0" hangingPunct="1">
              <a:lnSpc>
                <a:spcPct val="105000"/>
              </a:lnSpc>
              <a:spcBef>
                <a:spcPct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414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a16="http://schemas.microsoft.com/office/drawing/2014/main" xmlns:a14="http://schemas.microsoft.com/office/drawing/2010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">
            <a:extLst>
              <a:ext uri="{FF2B5EF4-FFF2-40B4-BE49-F238E27FC236}">
                <a16:creationId xmlns:a16="http://schemas.microsoft.com/office/drawing/2014/main" id="{295C4B23-21F2-2145-95FE-3AB8A616154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66001" y="1700808"/>
            <a:ext cx="5274000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C1BC992A-302B-241D-8898-D33B51BF79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52000" y="1700808"/>
            <a:ext cx="5274000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B581B0-C9DC-746F-44A6-3536C5D57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10" name="Subhead">
            <a:extLst>
              <a:ext uri="{FF2B5EF4-FFF2-40B4-BE49-F238E27FC236}">
                <a16:creationId xmlns:a16="http://schemas.microsoft.com/office/drawing/2014/main" id="{A2B96E86-1CA0-A5C9-1706-E774568A41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2001" y="956761"/>
            <a:ext cx="11088001" cy="30046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GB" sz="2000" b="0" i="0" spc="0">
                <a:solidFill>
                  <a:schemeClr val="accent2"/>
                </a:solidFill>
                <a:ea typeface="+mj-ea"/>
                <a:cs typeface="+mj-cs"/>
              </a:defRPr>
            </a:lvl1pPr>
            <a:lvl2pPr marL="0" indent="0">
              <a:buNone/>
              <a:defRPr lang="en-GB"/>
            </a:lvl2pPr>
            <a:lvl3pPr>
              <a:defRPr lang="en-GB"/>
            </a:lvl3pPr>
            <a:lvl4pPr>
              <a:defRPr lang="en-GB" sz="1200"/>
            </a:lvl4pPr>
            <a:lvl5pPr>
              <a:defRPr lang="en-US" sz="1400">
                <a:solidFill>
                  <a:schemeClr val="tx1"/>
                </a:solidFill>
                <a:latin typeface="+mn-lt"/>
              </a:defRPr>
            </a:lvl5pPr>
          </a:lstStyle>
          <a:p>
            <a:pPr lvl="0" defTabSz="971976">
              <a:spcBef>
                <a:spcPct val="0"/>
              </a:spcBef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489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009" userDrawn="1">
          <p15:clr>
            <a:srgbClr val="FBAE40"/>
          </p15:clr>
        </p15:guide>
        <p15:guide id="2" pos="3681" userDrawn="1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woosh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quiggle">
            <a:extLst>
              <a:ext uri="{FF2B5EF4-FFF2-40B4-BE49-F238E27FC236}">
                <a16:creationId xmlns:a16="http://schemas.microsoft.com/office/drawing/2014/main" id="{F1E92234-4982-3E11-5373-29201E90D1F3}"/>
              </a:ext>
            </a:extLst>
          </p:cNvPr>
          <p:cNvSpPr/>
          <p:nvPr/>
        </p:nvSpPr>
        <p:spPr>
          <a:xfrm rot="440875">
            <a:off x="-180921" y="265105"/>
            <a:ext cx="12690000" cy="7380000"/>
          </a:xfrm>
          <a:custGeom>
            <a:avLst/>
            <a:gdLst>
              <a:gd name="connsiteX0" fmla="*/ 9663071 w 12695865"/>
              <a:gd name="connsiteY0" fmla="*/ 4936695 h 7287592"/>
              <a:gd name="connsiteX1" fmla="*/ 10305791 w 12695865"/>
              <a:gd name="connsiteY1" fmla="*/ 5792294 h 7287592"/>
              <a:gd name="connsiteX2" fmla="*/ 10311345 w 12695865"/>
              <a:gd name="connsiteY2" fmla="*/ 6036691 h 7287592"/>
              <a:gd name="connsiteX3" fmla="*/ 7848321 w 12695865"/>
              <a:gd name="connsiteY3" fmla="*/ 6354305 h 7287592"/>
              <a:gd name="connsiteX4" fmla="*/ 8104991 w 12695865"/>
              <a:gd name="connsiteY4" fmla="*/ 6087878 h 7287592"/>
              <a:gd name="connsiteX5" fmla="*/ 8557333 w 12695865"/>
              <a:gd name="connsiteY5" fmla="*/ 5654250 h 7287592"/>
              <a:gd name="connsiteX6" fmla="*/ 8513989 w 12695865"/>
              <a:gd name="connsiteY6" fmla="*/ 5695171 h 7287592"/>
              <a:gd name="connsiteX7" fmla="*/ 9663071 w 12695865"/>
              <a:gd name="connsiteY7" fmla="*/ 4936695 h 7287592"/>
              <a:gd name="connsiteX8" fmla="*/ 12541795 w 12695865"/>
              <a:gd name="connsiteY8" fmla="*/ 4534420 h 7287592"/>
              <a:gd name="connsiteX9" fmla="*/ 12695865 w 12695865"/>
              <a:gd name="connsiteY9" fmla="*/ 5729200 h 7287592"/>
              <a:gd name="connsiteX10" fmla="*/ 10900128 w 12695865"/>
              <a:gd name="connsiteY10" fmla="*/ 5960765 h 7287592"/>
              <a:gd name="connsiteX11" fmla="*/ 10946590 w 12695865"/>
              <a:gd name="connsiteY11" fmla="*/ 5897077 h 7287592"/>
              <a:gd name="connsiteX12" fmla="*/ 12448100 w 12695865"/>
              <a:gd name="connsiteY12" fmla="*/ 4561770 h 7287592"/>
              <a:gd name="connsiteX13" fmla="*/ 1370551 w 12695865"/>
              <a:gd name="connsiteY13" fmla="*/ 351679 h 7287592"/>
              <a:gd name="connsiteX14" fmla="*/ 4097748 w 12695865"/>
              <a:gd name="connsiteY14" fmla="*/ 0 h 7287592"/>
              <a:gd name="connsiteX15" fmla="*/ 4040937 w 12695865"/>
              <a:gd name="connsiteY15" fmla="*/ 206166 h 7287592"/>
              <a:gd name="connsiteX16" fmla="*/ 3126329 w 12695865"/>
              <a:gd name="connsiteY16" fmla="*/ 4987643 h 7287592"/>
              <a:gd name="connsiteX17" fmla="*/ 5213612 w 12695865"/>
              <a:gd name="connsiteY17" fmla="*/ 6403045 h 7287592"/>
              <a:gd name="connsiteX18" fmla="*/ 5130314 w 12695865"/>
              <a:gd name="connsiteY18" fmla="*/ 6704801 h 7287592"/>
              <a:gd name="connsiteX19" fmla="*/ 610910 w 12695865"/>
              <a:gd name="connsiteY19" fmla="*/ 7287592 h 7287592"/>
              <a:gd name="connsiteX20" fmla="*/ 627644 w 12695865"/>
              <a:gd name="connsiteY20" fmla="*/ 7128260 h 7287592"/>
              <a:gd name="connsiteX21" fmla="*/ 1900910 w 12695865"/>
              <a:gd name="connsiteY21" fmla="*/ 1224060 h 7287592"/>
              <a:gd name="connsiteX22" fmla="*/ 629083 w 12695865"/>
              <a:gd name="connsiteY22" fmla="*/ 3725990 h 7287592"/>
              <a:gd name="connsiteX23" fmla="*/ 251309 w 12695865"/>
              <a:gd name="connsiteY23" fmla="*/ 4553535 h 7287592"/>
              <a:gd name="connsiteX24" fmla="*/ 0 w 12695865"/>
              <a:gd name="connsiteY24" fmla="*/ 2604695 h 7287592"/>
              <a:gd name="connsiteX25" fmla="*/ 2386 w 12695865"/>
              <a:gd name="connsiteY25" fmla="*/ 2600336 h 7287592"/>
              <a:gd name="connsiteX26" fmla="*/ 1325283 w 12695865"/>
              <a:gd name="connsiteY26" fmla="*/ 419479 h 728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695865" h="7287592">
                <a:moveTo>
                  <a:pt x="9663071" y="4936695"/>
                </a:moveTo>
                <a:cubicBezTo>
                  <a:pt x="10060600" y="4894909"/>
                  <a:pt x="10268482" y="5244305"/>
                  <a:pt x="10305791" y="5792294"/>
                </a:cubicBezTo>
                <a:lnTo>
                  <a:pt x="10311345" y="6036691"/>
                </a:lnTo>
                <a:lnTo>
                  <a:pt x="7848321" y="6354305"/>
                </a:lnTo>
                <a:lnTo>
                  <a:pt x="8104991" y="6087878"/>
                </a:lnTo>
                <a:cubicBezTo>
                  <a:pt x="8252505" y="5940608"/>
                  <a:pt x="8403221" y="5796001"/>
                  <a:pt x="8557333" y="5654250"/>
                </a:cubicBezTo>
                <a:lnTo>
                  <a:pt x="8513989" y="5695171"/>
                </a:lnTo>
                <a:cubicBezTo>
                  <a:pt x="8998410" y="5195972"/>
                  <a:pt x="9379120" y="4966542"/>
                  <a:pt x="9663071" y="4936695"/>
                </a:cubicBezTo>
                <a:close/>
                <a:moveTo>
                  <a:pt x="12541795" y="4534420"/>
                </a:moveTo>
                <a:lnTo>
                  <a:pt x="12695865" y="5729200"/>
                </a:lnTo>
                <a:lnTo>
                  <a:pt x="10900128" y="5960765"/>
                </a:lnTo>
                <a:lnTo>
                  <a:pt x="10946590" y="5897077"/>
                </a:lnTo>
                <a:cubicBezTo>
                  <a:pt x="11371257" y="5326275"/>
                  <a:pt x="11838265" y="4782811"/>
                  <a:pt x="12448100" y="4561770"/>
                </a:cubicBezTo>
                <a:close/>
                <a:moveTo>
                  <a:pt x="1370551" y="351679"/>
                </a:moveTo>
                <a:lnTo>
                  <a:pt x="4097748" y="0"/>
                </a:lnTo>
                <a:lnTo>
                  <a:pt x="4040937" y="206166"/>
                </a:lnTo>
                <a:cubicBezTo>
                  <a:pt x="3490251" y="2200230"/>
                  <a:pt x="2877792" y="4387758"/>
                  <a:pt x="3126329" y="4987643"/>
                </a:cubicBezTo>
                <a:cubicBezTo>
                  <a:pt x="6193293" y="1106531"/>
                  <a:pt x="6065499" y="3229140"/>
                  <a:pt x="5213612" y="6403045"/>
                </a:cubicBezTo>
                <a:lnTo>
                  <a:pt x="5130314" y="6704801"/>
                </a:lnTo>
                <a:lnTo>
                  <a:pt x="610910" y="7287592"/>
                </a:lnTo>
                <a:lnTo>
                  <a:pt x="627644" y="7128260"/>
                </a:lnTo>
                <a:cubicBezTo>
                  <a:pt x="875017" y="5047620"/>
                  <a:pt x="1616591" y="2236346"/>
                  <a:pt x="1900910" y="1224060"/>
                </a:cubicBezTo>
                <a:cubicBezTo>
                  <a:pt x="1445282" y="2042854"/>
                  <a:pt x="1026698" y="2879400"/>
                  <a:pt x="629083" y="3725990"/>
                </a:cubicBezTo>
                <a:lnTo>
                  <a:pt x="251309" y="4553535"/>
                </a:lnTo>
                <a:lnTo>
                  <a:pt x="0" y="2604695"/>
                </a:lnTo>
                <a:lnTo>
                  <a:pt x="2386" y="2600336"/>
                </a:lnTo>
                <a:cubicBezTo>
                  <a:pt x="429300" y="1840867"/>
                  <a:pt x="876718" y="1104271"/>
                  <a:pt x="1325283" y="419479"/>
                </a:cubicBez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117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8FC8295C-3D67-1A2A-D3FF-3587A0DDF7AD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6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9CC6FB-50A5-8E85-2352-EFD550F00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0690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woosh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quiggle">
            <a:extLst>
              <a:ext uri="{FF2B5EF4-FFF2-40B4-BE49-F238E27FC236}">
                <a16:creationId xmlns:a16="http://schemas.microsoft.com/office/drawing/2014/main" id="{F1E92234-4982-3E11-5373-29201E90D1F3}"/>
              </a:ext>
            </a:extLst>
          </p:cNvPr>
          <p:cNvSpPr/>
          <p:nvPr/>
        </p:nvSpPr>
        <p:spPr>
          <a:xfrm rot="21159125" flipH="1">
            <a:off x="-319821" y="265105"/>
            <a:ext cx="12690000" cy="7380000"/>
          </a:xfrm>
          <a:custGeom>
            <a:avLst/>
            <a:gdLst>
              <a:gd name="connsiteX0" fmla="*/ 9663071 w 12695865"/>
              <a:gd name="connsiteY0" fmla="*/ 4936695 h 7287592"/>
              <a:gd name="connsiteX1" fmla="*/ 10305791 w 12695865"/>
              <a:gd name="connsiteY1" fmla="*/ 5792294 h 7287592"/>
              <a:gd name="connsiteX2" fmla="*/ 10311345 w 12695865"/>
              <a:gd name="connsiteY2" fmla="*/ 6036691 h 7287592"/>
              <a:gd name="connsiteX3" fmla="*/ 7848321 w 12695865"/>
              <a:gd name="connsiteY3" fmla="*/ 6354305 h 7287592"/>
              <a:gd name="connsiteX4" fmla="*/ 8104991 w 12695865"/>
              <a:gd name="connsiteY4" fmla="*/ 6087878 h 7287592"/>
              <a:gd name="connsiteX5" fmla="*/ 8557333 w 12695865"/>
              <a:gd name="connsiteY5" fmla="*/ 5654250 h 7287592"/>
              <a:gd name="connsiteX6" fmla="*/ 8513989 w 12695865"/>
              <a:gd name="connsiteY6" fmla="*/ 5695171 h 7287592"/>
              <a:gd name="connsiteX7" fmla="*/ 9663071 w 12695865"/>
              <a:gd name="connsiteY7" fmla="*/ 4936695 h 7287592"/>
              <a:gd name="connsiteX8" fmla="*/ 12541795 w 12695865"/>
              <a:gd name="connsiteY8" fmla="*/ 4534420 h 7287592"/>
              <a:gd name="connsiteX9" fmla="*/ 12695865 w 12695865"/>
              <a:gd name="connsiteY9" fmla="*/ 5729200 h 7287592"/>
              <a:gd name="connsiteX10" fmla="*/ 10900128 w 12695865"/>
              <a:gd name="connsiteY10" fmla="*/ 5960765 h 7287592"/>
              <a:gd name="connsiteX11" fmla="*/ 10946590 w 12695865"/>
              <a:gd name="connsiteY11" fmla="*/ 5897077 h 7287592"/>
              <a:gd name="connsiteX12" fmla="*/ 12448100 w 12695865"/>
              <a:gd name="connsiteY12" fmla="*/ 4561770 h 7287592"/>
              <a:gd name="connsiteX13" fmla="*/ 1370551 w 12695865"/>
              <a:gd name="connsiteY13" fmla="*/ 351679 h 7287592"/>
              <a:gd name="connsiteX14" fmla="*/ 4097748 w 12695865"/>
              <a:gd name="connsiteY14" fmla="*/ 0 h 7287592"/>
              <a:gd name="connsiteX15" fmla="*/ 4040937 w 12695865"/>
              <a:gd name="connsiteY15" fmla="*/ 206166 h 7287592"/>
              <a:gd name="connsiteX16" fmla="*/ 3126329 w 12695865"/>
              <a:gd name="connsiteY16" fmla="*/ 4987643 h 7287592"/>
              <a:gd name="connsiteX17" fmla="*/ 5213612 w 12695865"/>
              <a:gd name="connsiteY17" fmla="*/ 6403045 h 7287592"/>
              <a:gd name="connsiteX18" fmla="*/ 5130314 w 12695865"/>
              <a:gd name="connsiteY18" fmla="*/ 6704801 h 7287592"/>
              <a:gd name="connsiteX19" fmla="*/ 610910 w 12695865"/>
              <a:gd name="connsiteY19" fmla="*/ 7287592 h 7287592"/>
              <a:gd name="connsiteX20" fmla="*/ 627644 w 12695865"/>
              <a:gd name="connsiteY20" fmla="*/ 7128260 h 7287592"/>
              <a:gd name="connsiteX21" fmla="*/ 1900910 w 12695865"/>
              <a:gd name="connsiteY21" fmla="*/ 1224060 h 7287592"/>
              <a:gd name="connsiteX22" fmla="*/ 629083 w 12695865"/>
              <a:gd name="connsiteY22" fmla="*/ 3725990 h 7287592"/>
              <a:gd name="connsiteX23" fmla="*/ 251309 w 12695865"/>
              <a:gd name="connsiteY23" fmla="*/ 4553535 h 7287592"/>
              <a:gd name="connsiteX24" fmla="*/ 0 w 12695865"/>
              <a:gd name="connsiteY24" fmla="*/ 2604695 h 7287592"/>
              <a:gd name="connsiteX25" fmla="*/ 2386 w 12695865"/>
              <a:gd name="connsiteY25" fmla="*/ 2600336 h 7287592"/>
              <a:gd name="connsiteX26" fmla="*/ 1325283 w 12695865"/>
              <a:gd name="connsiteY26" fmla="*/ 419479 h 728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695865" h="7287592">
                <a:moveTo>
                  <a:pt x="9663071" y="4936695"/>
                </a:moveTo>
                <a:cubicBezTo>
                  <a:pt x="10060600" y="4894909"/>
                  <a:pt x="10268482" y="5244305"/>
                  <a:pt x="10305791" y="5792294"/>
                </a:cubicBezTo>
                <a:lnTo>
                  <a:pt x="10311345" y="6036691"/>
                </a:lnTo>
                <a:lnTo>
                  <a:pt x="7848321" y="6354305"/>
                </a:lnTo>
                <a:lnTo>
                  <a:pt x="8104991" y="6087878"/>
                </a:lnTo>
                <a:cubicBezTo>
                  <a:pt x="8252505" y="5940608"/>
                  <a:pt x="8403221" y="5796001"/>
                  <a:pt x="8557333" y="5654250"/>
                </a:cubicBezTo>
                <a:lnTo>
                  <a:pt x="8513989" y="5695171"/>
                </a:lnTo>
                <a:cubicBezTo>
                  <a:pt x="8998410" y="5195972"/>
                  <a:pt x="9379120" y="4966542"/>
                  <a:pt x="9663071" y="4936695"/>
                </a:cubicBezTo>
                <a:close/>
                <a:moveTo>
                  <a:pt x="12541795" y="4534420"/>
                </a:moveTo>
                <a:lnTo>
                  <a:pt x="12695865" y="5729200"/>
                </a:lnTo>
                <a:lnTo>
                  <a:pt x="10900128" y="5960765"/>
                </a:lnTo>
                <a:lnTo>
                  <a:pt x="10946590" y="5897077"/>
                </a:lnTo>
                <a:cubicBezTo>
                  <a:pt x="11371257" y="5326275"/>
                  <a:pt x="11838265" y="4782811"/>
                  <a:pt x="12448100" y="4561770"/>
                </a:cubicBezTo>
                <a:close/>
                <a:moveTo>
                  <a:pt x="1370551" y="351679"/>
                </a:moveTo>
                <a:lnTo>
                  <a:pt x="4097748" y="0"/>
                </a:lnTo>
                <a:lnTo>
                  <a:pt x="4040937" y="206166"/>
                </a:lnTo>
                <a:cubicBezTo>
                  <a:pt x="3490251" y="2200230"/>
                  <a:pt x="2877792" y="4387758"/>
                  <a:pt x="3126329" y="4987643"/>
                </a:cubicBezTo>
                <a:cubicBezTo>
                  <a:pt x="6193293" y="1106531"/>
                  <a:pt x="6065499" y="3229140"/>
                  <a:pt x="5213612" y="6403045"/>
                </a:cubicBezTo>
                <a:lnTo>
                  <a:pt x="5130314" y="6704801"/>
                </a:lnTo>
                <a:lnTo>
                  <a:pt x="610910" y="7287592"/>
                </a:lnTo>
                <a:lnTo>
                  <a:pt x="627644" y="7128260"/>
                </a:lnTo>
                <a:cubicBezTo>
                  <a:pt x="875017" y="5047620"/>
                  <a:pt x="1616591" y="2236346"/>
                  <a:pt x="1900910" y="1224060"/>
                </a:cubicBezTo>
                <a:cubicBezTo>
                  <a:pt x="1445282" y="2042854"/>
                  <a:pt x="1026698" y="2879400"/>
                  <a:pt x="629083" y="3725990"/>
                </a:cubicBezTo>
                <a:lnTo>
                  <a:pt x="251309" y="4553535"/>
                </a:lnTo>
                <a:lnTo>
                  <a:pt x="0" y="2604695"/>
                </a:lnTo>
                <a:lnTo>
                  <a:pt x="2386" y="2600336"/>
                </a:lnTo>
                <a:cubicBezTo>
                  <a:pt x="429300" y="1840867"/>
                  <a:pt x="876718" y="1104271"/>
                  <a:pt x="1325283" y="419479"/>
                </a:cubicBez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117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8FC8295C-3D67-1A2A-D3FF-3587A0DDF7AD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6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9CC6FB-50A5-8E85-2352-EFD550F00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5599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Swoos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adient background">
            <a:extLst>
              <a:ext uri="{FF2B5EF4-FFF2-40B4-BE49-F238E27FC236}">
                <a16:creationId xmlns:a16="http://schemas.microsoft.com/office/drawing/2014/main" id="{FF4FA843-E9AB-E4D0-4382-8A499820EF90}"/>
              </a:ext>
            </a:extLst>
          </p:cNvPr>
          <p:cNvSpPr/>
          <p:nvPr/>
        </p:nvSpPr>
        <p:spPr>
          <a:xfrm>
            <a:off x="0" y="2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sz="1800"/>
          </a:p>
        </p:txBody>
      </p:sp>
      <p:sp>
        <p:nvSpPr>
          <p:cNvPr id="10" name="Squiggle">
            <a:extLst>
              <a:ext uri="{FF2B5EF4-FFF2-40B4-BE49-F238E27FC236}">
                <a16:creationId xmlns:a16="http://schemas.microsoft.com/office/drawing/2014/main" id="{751B40F4-B93C-487C-7153-09E178C1455F}"/>
              </a:ext>
            </a:extLst>
          </p:cNvPr>
          <p:cNvSpPr>
            <a:spLocks/>
          </p:cNvSpPr>
          <p:nvPr userDrawn="1"/>
        </p:nvSpPr>
        <p:spPr bwMode="ltGray">
          <a:xfrm rot="8762903">
            <a:off x="-918619" y="638750"/>
            <a:ext cx="13864612" cy="6245410"/>
          </a:xfrm>
          <a:custGeom>
            <a:avLst/>
            <a:gdLst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996876 w 6958630"/>
              <a:gd name="connsiteY11" fmla="*/ 4908063 h 5352044"/>
              <a:gd name="connsiteX12" fmla="*/ 1398177 w 6958630"/>
              <a:gd name="connsiteY12" fmla="*/ 4201072 h 5352044"/>
              <a:gd name="connsiteX13" fmla="*/ 1590566 w 6958630"/>
              <a:gd name="connsiteY13" fmla="*/ 3604919 h 5352044"/>
              <a:gd name="connsiteX14" fmla="*/ 1974502 w 6958630"/>
              <a:gd name="connsiteY14" fmla="*/ 2496593 h 5352044"/>
              <a:gd name="connsiteX15" fmla="*/ 2349059 w 6958630"/>
              <a:gd name="connsiteY15" fmla="*/ 1514660 h 5352044"/>
              <a:gd name="connsiteX16" fmla="*/ 2474209 w 6958630"/>
              <a:gd name="connsiteY16" fmla="*/ 1195792 h 5352044"/>
              <a:gd name="connsiteX17" fmla="*/ 2595638 w 6958630"/>
              <a:gd name="connsiteY17" fmla="*/ 980346 h 5352044"/>
              <a:gd name="connsiteX18" fmla="*/ 3160829 w 6958630"/>
              <a:gd name="connsiteY18" fmla="*/ 512585 h 5352044"/>
              <a:gd name="connsiteX19" fmla="*/ 3435866 w 6958630"/>
              <a:gd name="connsiteY19" fmla="*/ 585618 h 5352044"/>
              <a:gd name="connsiteX20" fmla="*/ 3450660 w 6958630"/>
              <a:gd name="connsiteY20" fmla="*/ 838639 h 5352044"/>
              <a:gd name="connsiteX21" fmla="*/ 3404013 w 6958630"/>
              <a:gd name="connsiteY21" fmla="*/ 1499936 h 5352044"/>
              <a:gd name="connsiteX22" fmla="*/ 3313870 w 6958630"/>
              <a:gd name="connsiteY22" fmla="*/ 2850918 h 5352044"/>
              <a:gd name="connsiteX23" fmla="*/ 3369572 w 6958630"/>
              <a:gd name="connsiteY23" fmla="*/ 2686006 h 5352044"/>
              <a:gd name="connsiteX24" fmla="*/ 3706860 w 6958630"/>
              <a:gd name="connsiteY24" fmla="*/ 1716324 h 5352044"/>
              <a:gd name="connsiteX25" fmla="*/ 3936380 w 6958630"/>
              <a:gd name="connsiteY25" fmla="*/ 1155977 h 5352044"/>
              <a:gd name="connsiteX26" fmla="*/ 4337132 w 6958630"/>
              <a:gd name="connsiteY26" fmla="*/ 522126 h 5352044"/>
              <a:gd name="connsiteX27" fmla="*/ 4436557 w 6958630"/>
              <a:gd name="connsiteY27" fmla="*/ 425574 h 5352044"/>
              <a:gd name="connsiteX28" fmla="*/ 4508920 w 6958630"/>
              <a:gd name="connsiteY28" fmla="*/ 367382 h 5352044"/>
              <a:gd name="connsiteX29" fmla="*/ 5115640 w 6958630"/>
              <a:gd name="connsiteY29" fmla="*/ 1083845 h 5352044"/>
              <a:gd name="connsiteX30" fmla="*/ 5115018 w 6958630"/>
              <a:gd name="connsiteY30" fmla="*/ 1096653 h 5352044"/>
              <a:gd name="connsiteX31" fmla="*/ 5091987 w 6958630"/>
              <a:gd name="connsiteY31" fmla="*/ 1380611 h 5352044"/>
              <a:gd name="connsiteX32" fmla="*/ 5018983 w 6958630"/>
              <a:gd name="connsiteY32" fmla="*/ 2135554 h 5352044"/>
              <a:gd name="connsiteX33" fmla="*/ 4977834 w 6958630"/>
              <a:gd name="connsiteY33" fmla="*/ 2587648 h 5352044"/>
              <a:gd name="connsiteX34" fmla="*/ 5285289 w 6958630"/>
              <a:gd name="connsiteY34" fmla="*/ 2003389 h 5352044"/>
              <a:gd name="connsiteX35" fmla="*/ 5453822 w 6958630"/>
              <a:gd name="connsiteY35" fmla="*/ 1744212 h 5352044"/>
              <a:gd name="connsiteX36" fmla="*/ 5559908 w 6958630"/>
              <a:gd name="connsiteY36" fmla="*/ 1608472 h 5352044"/>
              <a:gd name="connsiteX37" fmla="*/ 6798419 w 6958630"/>
              <a:gd name="connsiteY37" fmla="*/ 3071005 h 5352044"/>
              <a:gd name="connsiteX38" fmla="*/ 6799849 w 6958630"/>
              <a:gd name="connsiteY38" fmla="*/ 3148467 h 5352044"/>
              <a:gd name="connsiteX39" fmla="*/ 6825478 w 6958630"/>
              <a:gd name="connsiteY39" fmla="*/ 3218437 h 5352044"/>
              <a:gd name="connsiteX40" fmla="*/ 6835906 w 6958630"/>
              <a:gd name="connsiteY40" fmla="*/ 3236811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825478 w 6958630"/>
              <a:gd name="connsiteY40" fmla="*/ 3218437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75" fmla="*/ 1996876 w 6958630"/>
              <a:gd name="connsiteY75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904383 w 6958630"/>
              <a:gd name="connsiteY40" fmla="*/ 3276626 h 5352044"/>
              <a:gd name="connsiteX41" fmla="*/ 6958630 w 6958630"/>
              <a:gd name="connsiteY41" fmla="*/ 3303366 h 5352044"/>
              <a:gd name="connsiteX42" fmla="*/ 6929041 w 6958630"/>
              <a:gd name="connsiteY42" fmla="*/ 3371333 h 5352044"/>
              <a:gd name="connsiteX43" fmla="*/ 6842183 w 6958630"/>
              <a:gd name="connsiteY43" fmla="*/ 3496813 h 5352044"/>
              <a:gd name="connsiteX44" fmla="*/ 6752598 w 6958630"/>
              <a:gd name="connsiteY44" fmla="*/ 3590980 h 5352044"/>
              <a:gd name="connsiteX45" fmla="*/ 6636435 w 6958630"/>
              <a:gd name="connsiteY45" fmla="*/ 3689350 h 5352044"/>
              <a:gd name="connsiteX46" fmla="*/ 6534262 w 6958630"/>
              <a:gd name="connsiteY46" fmla="*/ 3751543 h 5352044"/>
              <a:gd name="connsiteX47" fmla="*/ 6311623 w 6958630"/>
              <a:gd name="connsiteY47" fmla="*/ 3821071 h 5352044"/>
              <a:gd name="connsiteX48" fmla="*/ 6205393 w 6958630"/>
              <a:gd name="connsiteY48" fmla="*/ 3821425 h 5352044"/>
              <a:gd name="connsiteX49" fmla="*/ 6113794 w 6958630"/>
              <a:gd name="connsiteY49" fmla="*/ 3789856 h 5352044"/>
              <a:gd name="connsiteX50" fmla="*/ 5957763 w 6958630"/>
              <a:gd name="connsiteY50" fmla="*/ 3645087 h 5352044"/>
              <a:gd name="connsiteX51" fmla="*/ 5871500 w 6958630"/>
              <a:gd name="connsiteY51" fmla="*/ 3407024 h 5352044"/>
              <a:gd name="connsiteX52" fmla="*/ 5850157 w 6958630"/>
              <a:gd name="connsiteY52" fmla="*/ 3228802 h 5352044"/>
              <a:gd name="connsiteX53" fmla="*/ 5855735 w 6958630"/>
              <a:gd name="connsiteY53" fmla="*/ 2702379 h 5352044"/>
              <a:gd name="connsiteX54" fmla="*/ 5851694 w 6958630"/>
              <a:gd name="connsiteY54" fmla="*/ 2416140 h 5352044"/>
              <a:gd name="connsiteX55" fmla="*/ 5849753 w 6958630"/>
              <a:gd name="connsiteY55" fmla="*/ 2339220 h 5352044"/>
              <a:gd name="connsiteX56" fmla="*/ 5526775 w 6958630"/>
              <a:gd name="connsiteY56" fmla="*/ 3089687 h 5352044"/>
              <a:gd name="connsiteX57" fmla="*/ 5318032 w 6958630"/>
              <a:gd name="connsiteY57" fmla="*/ 3567460 h 5352044"/>
              <a:gd name="connsiteX58" fmla="*/ 5075333 w 6958630"/>
              <a:gd name="connsiteY58" fmla="*/ 3948996 h 5352044"/>
              <a:gd name="connsiteX59" fmla="*/ 4924556 w 6958630"/>
              <a:gd name="connsiteY59" fmla="*/ 4127219 h 5352044"/>
              <a:gd name="connsiteX60" fmla="*/ 4635048 w 6958630"/>
              <a:gd name="connsiteY60" fmla="*/ 4368343 h 5352044"/>
              <a:gd name="connsiteX61" fmla="*/ 4359931 w 6958630"/>
              <a:gd name="connsiteY61" fmla="*/ 4482250 h 5352044"/>
              <a:gd name="connsiteX62" fmla="*/ 4263401 w 6958630"/>
              <a:gd name="connsiteY62" fmla="*/ 4484960 h 5352044"/>
              <a:gd name="connsiteX63" fmla="*/ 3999117 w 6958630"/>
              <a:gd name="connsiteY63" fmla="*/ 4107900 h 5352044"/>
              <a:gd name="connsiteX64" fmla="*/ 3984242 w 6958630"/>
              <a:gd name="connsiteY64" fmla="*/ 3763234 h 5352044"/>
              <a:gd name="connsiteX65" fmla="*/ 4001623 w 6958630"/>
              <a:gd name="connsiteY65" fmla="*/ 3345301 h 5352044"/>
              <a:gd name="connsiteX66" fmla="*/ 4018520 w 6958630"/>
              <a:gd name="connsiteY66" fmla="*/ 3140220 h 5352044"/>
              <a:gd name="connsiteX67" fmla="*/ 3918918 w 6958630"/>
              <a:gd name="connsiteY67" fmla="*/ 3442952 h 5352044"/>
              <a:gd name="connsiteX68" fmla="*/ 3739925 w 6958630"/>
              <a:gd name="connsiteY68" fmla="*/ 3941692 h 5352044"/>
              <a:gd name="connsiteX69" fmla="*/ 3266332 w 6958630"/>
              <a:gd name="connsiteY69" fmla="*/ 4905602 h 5352044"/>
              <a:gd name="connsiteX70" fmla="*/ 2513418 w 6958630"/>
              <a:gd name="connsiteY70" fmla="*/ 5349452 h 5352044"/>
              <a:gd name="connsiteX71" fmla="*/ 2277187 w 6958630"/>
              <a:gd name="connsiteY71" fmla="*/ 4857072 h 5352044"/>
              <a:gd name="connsiteX72" fmla="*/ 2326260 w 6958630"/>
              <a:gd name="connsiteY72" fmla="*/ 3819775 h 5352044"/>
              <a:gd name="connsiteX73" fmla="*/ 2048658 w 6958630"/>
              <a:gd name="connsiteY73" fmla="*/ 4760224 h 5352044"/>
              <a:gd name="connsiteX74" fmla="*/ 1996876 w 6958630"/>
              <a:gd name="connsiteY74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904383 w 6958630"/>
              <a:gd name="connsiteY39" fmla="*/ 3276626 h 5352044"/>
              <a:gd name="connsiteX40" fmla="*/ 6958630 w 6958630"/>
              <a:gd name="connsiteY40" fmla="*/ 3303366 h 5352044"/>
              <a:gd name="connsiteX41" fmla="*/ 6929041 w 6958630"/>
              <a:gd name="connsiteY41" fmla="*/ 3371333 h 5352044"/>
              <a:gd name="connsiteX42" fmla="*/ 6842183 w 6958630"/>
              <a:gd name="connsiteY42" fmla="*/ 3496813 h 5352044"/>
              <a:gd name="connsiteX43" fmla="*/ 6752598 w 6958630"/>
              <a:gd name="connsiteY43" fmla="*/ 3590980 h 5352044"/>
              <a:gd name="connsiteX44" fmla="*/ 6636435 w 6958630"/>
              <a:gd name="connsiteY44" fmla="*/ 3689350 h 5352044"/>
              <a:gd name="connsiteX45" fmla="*/ 6534262 w 6958630"/>
              <a:gd name="connsiteY45" fmla="*/ 3751543 h 5352044"/>
              <a:gd name="connsiteX46" fmla="*/ 6311623 w 6958630"/>
              <a:gd name="connsiteY46" fmla="*/ 3821071 h 5352044"/>
              <a:gd name="connsiteX47" fmla="*/ 6205393 w 6958630"/>
              <a:gd name="connsiteY47" fmla="*/ 3821425 h 5352044"/>
              <a:gd name="connsiteX48" fmla="*/ 6113794 w 6958630"/>
              <a:gd name="connsiteY48" fmla="*/ 3789856 h 5352044"/>
              <a:gd name="connsiteX49" fmla="*/ 5957763 w 6958630"/>
              <a:gd name="connsiteY49" fmla="*/ 3645087 h 5352044"/>
              <a:gd name="connsiteX50" fmla="*/ 5871500 w 6958630"/>
              <a:gd name="connsiteY50" fmla="*/ 3407024 h 5352044"/>
              <a:gd name="connsiteX51" fmla="*/ 5850157 w 6958630"/>
              <a:gd name="connsiteY51" fmla="*/ 3228802 h 5352044"/>
              <a:gd name="connsiteX52" fmla="*/ 5855735 w 6958630"/>
              <a:gd name="connsiteY52" fmla="*/ 2702379 h 5352044"/>
              <a:gd name="connsiteX53" fmla="*/ 5851694 w 6958630"/>
              <a:gd name="connsiteY53" fmla="*/ 2416140 h 5352044"/>
              <a:gd name="connsiteX54" fmla="*/ 5849753 w 6958630"/>
              <a:gd name="connsiteY54" fmla="*/ 2339220 h 5352044"/>
              <a:gd name="connsiteX55" fmla="*/ 5526775 w 6958630"/>
              <a:gd name="connsiteY55" fmla="*/ 3089687 h 5352044"/>
              <a:gd name="connsiteX56" fmla="*/ 5318032 w 6958630"/>
              <a:gd name="connsiteY56" fmla="*/ 3567460 h 5352044"/>
              <a:gd name="connsiteX57" fmla="*/ 5075333 w 6958630"/>
              <a:gd name="connsiteY57" fmla="*/ 3948996 h 5352044"/>
              <a:gd name="connsiteX58" fmla="*/ 4924556 w 6958630"/>
              <a:gd name="connsiteY58" fmla="*/ 4127219 h 5352044"/>
              <a:gd name="connsiteX59" fmla="*/ 4635048 w 6958630"/>
              <a:gd name="connsiteY59" fmla="*/ 4368343 h 5352044"/>
              <a:gd name="connsiteX60" fmla="*/ 4359931 w 6958630"/>
              <a:gd name="connsiteY60" fmla="*/ 4482250 h 5352044"/>
              <a:gd name="connsiteX61" fmla="*/ 4263401 w 6958630"/>
              <a:gd name="connsiteY61" fmla="*/ 4484960 h 5352044"/>
              <a:gd name="connsiteX62" fmla="*/ 3999117 w 6958630"/>
              <a:gd name="connsiteY62" fmla="*/ 4107900 h 5352044"/>
              <a:gd name="connsiteX63" fmla="*/ 3984242 w 6958630"/>
              <a:gd name="connsiteY63" fmla="*/ 3763234 h 5352044"/>
              <a:gd name="connsiteX64" fmla="*/ 4001623 w 6958630"/>
              <a:gd name="connsiteY64" fmla="*/ 3345301 h 5352044"/>
              <a:gd name="connsiteX65" fmla="*/ 4018520 w 6958630"/>
              <a:gd name="connsiteY65" fmla="*/ 3140220 h 5352044"/>
              <a:gd name="connsiteX66" fmla="*/ 3918918 w 6958630"/>
              <a:gd name="connsiteY66" fmla="*/ 3442952 h 5352044"/>
              <a:gd name="connsiteX67" fmla="*/ 3739925 w 6958630"/>
              <a:gd name="connsiteY67" fmla="*/ 3941692 h 5352044"/>
              <a:gd name="connsiteX68" fmla="*/ 3266332 w 6958630"/>
              <a:gd name="connsiteY68" fmla="*/ 4905602 h 5352044"/>
              <a:gd name="connsiteX69" fmla="*/ 2513418 w 6958630"/>
              <a:gd name="connsiteY69" fmla="*/ 5349452 h 5352044"/>
              <a:gd name="connsiteX70" fmla="*/ 2277187 w 6958630"/>
              <a:gd name="connsiteY70" fmla="*/ 4857072 h 5352044"/>
              <a:gd name="connsiteX71" fmla="*/ 2326260 w 6958630"/>
              <a:gd name="connsiteY71" fmla="*/ 3819775 h 5352044"/>
              <a:gd name="connsiteX72" fmla="*/ 2048658 w 6958630"/>
              <a:gd name="connsiteY72" fmla="*/ 4760224 h 5352044"/>
              <a:gd name="connsiteX73" fmla="*/ 1996876 w 6958630"/>
              <a:gd name="connsiteY73" fmla="*/ 4908063 h 5352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6958630" h="5352044">
                <a:moveTo>
                  <a:pt x="1075189" y="3819662"/>
                </a:moveTo>
                <a:lnTo>
                  <a:pt x="0" y="2549993"/>
                </a:lnTo>
                <a:lnTo>
                  <a:pt x="273834" y="1601357"/>
                </a:lnTo>
                <a:cubicBezTo>
                  <a:pt x="334145" y="1401224"/>
                  <a:pt x="392071" y="1194731"/>
                  <a:pt x="455464" y="992346"/>
                </a:cubicBezTo>
                <a:lnTo>
                  <a:pt x="482058" y="912917"/>
                </a:lnTo>
                <a:lnTo>
                  <a:pt x="1560103" y="0"/>
                </a:lnTo>
                <a:lnTo>
                  <a:pt x="1563049" y="19661"/>
                </a:lnTo>
                <a:cubicBezTo>
                  <a:pt x="1562735" y="79603"/>
                  <a:pt x="1547759" y="145008"/>
                  <a:pt x="1535672" y="208675"/>
                </a:cubicBezTo>
                <a:cubicBezTo>
                  <a:pt x="1503981" y="375590"/>
                  <a:pt x="1464447" y="539089"/>
                  <a:pt x="1431946" y="705650"/>
                </a:cubicBezTo>
                <a:cubicBezTo>
                  <a:pt x="1382793" y="957376"/>
                  <a:pt x="1338086" y="1211340"/>
                  <a:pt x="1308739" y="1469663"/>
                </a:cubicBezTo>
                <a:cubicBezTo>
                  <a:pt x="1231248" y="2152398"/>
                  <a:pt x="1132111" y="2839043"/>
                  <a:pt x="1089432" y="3521397"/>
                </a:cubicBezTo>
                <a:lnTo>
                  <a:pt x="1075189" y="3819662"/>
                </a:lnTo>
                <a:close/>
                <a:moveTo>
                  <a:pt x="1996876" y="4908063"/>
                </a:moveTo>
                <a:lnTo>
                  <a:pt x="1398177" y="4201072"/>
                </a:lnTo>
                <a:lnTo>
                  <a:pt x="1590566" y="3604919"/>
                </a:lnTo>
                <a:cubicBezTo>
                  <a:pt x="1715230" y="3233985"/>
                  <a:pt x="1843451" y="2864347"/>
                  <a:pt x="1974502" y="2496593"/>
                </a:cubicBezTo>
                <a:cubicBezTo>
                  <a:pt x="2096579" y="2167829"/>
                  <a:pt x="2219221" y="1839301"/>
                  <a:pt x="2349059" y="1514660"/>
                </a:cubicBezTo>
                <a:cubicBezTo>
                  <a:pt x="2389159" y="1407350"/>
                  <a:pt x="2429178" y="1300275"/>
                  <a:pt x="2474209" y="1195792"/>
                </a:cubicBezTo>
                <a:cubicBezTo>
                  <a:pt x="2506143" y="1116870"/>
                  <a:pt x="2552548" y="1049491"/>
                  <a:pt x="2595638" y="980346"/>
                </a:cubicBezTo>
                <a:cubicBezTo>
                  <a:pt x="2735420" y="756066"/>
                  <a:pt x="2952975" y="554992"/>
                  <a:pt x="3160829" y="512585"/>
                </a:cubicBezTo>
                <a:cubicBezTo>
                  <a:pt x="3221463" y="500216"/>
                  <a:pt x="3408378" y="448388"/>
                  <a:pt x="3435866" y="585618"/>
                </a:cubicBezTo>
                <a:cubicBezTo>
                  <a:pt x="3451954" y="666424"/>
                  <a:pt x="3452762" y="752296"/>
                  <a:pt x="3450660" y="838639"/>
                </a:cubicBezTo>
                <a:cubicBezTo>
                  <a:pt x="3439018" y="1058797"/>
                  <a:pt x="3418080" y="1279661"/>
                  <a:pt x="3404013" y="1499936"/>
                </a:cubicBezTo>
                <a:cubicBezTo>
                  <a:pt x="3374990" y="1950264"/>
                  <a:pt x="3346451" y="2400472"/>
                  <a:pt x="3313870" y="2850918"/>
                </a:cubicBezTo>
                <a:cubicBezTo>
                  <a:pt x="3332222" y="2798028"/>
                  <a:pt x="3350735" y="2741958"/>
                  <a:pt x="3369572" y="2686006"/>
                </a:cubicBezTo>
                <a:cubicBezTo>
                  <a:pt x="3474752" y="2359481"/>
                  <a:pt x="3593999" y="2039316"/>
                  <a:pt x="3706860" y="1716324"/>
                </a:cubicBezTo>
                <a:cubicBezTo>
                  <a:pt x="3783340" y="1529502"/>
                  <a:pt x="3858769" y="1342092"/>
                  <a:pt x="3936380" y="1155977"/>
                </a:cubicBezTo>
                <a:cubicBezTo>
                  <a:pt x="4039217" y="901659"/>
                  <a:pt x="4175037" y="691750"/>
                  <a:pt x="4337132" y="522126"/>
                </a:cubicBezTo>
                <a:cubicBezTo>
                  <a:pt x="4369187" y="488614"/>
                  <a:pt x="4402385" y="456103"/>
                  <a:pt x="4436557" y="425574"/>
                </a:cubicBezTo>
                <a:lnTo>
                  <a:pt x="4508920" y="367382"/>
                </a:lnTo>
                <a:lnTo>
                  <a:pt x="5115640" y="1083845"/>
                </a:lnTo>
                <a:cubicBezTo>
                  <a:pt x="5115433" y="1088114"/>
                  <a:pt x="5115225" y="1092384"/>
                  <a:pt x="5115018" y="1096653"/>
                </a:cubicBezTo>
                <a:cubicBezTo>
                  <a:pt x="5108399" y="1191256"/>
                  <a:pt x="5100234" y="1285963"/>
                  <a:pt x="5091987" y="1380611"/>
                </a:cubicBezTo>
                <a:cubicBezTo>
                  <a:pt x="5067734" y="1632219"/>
                  <a:pt x="5042105" y="1883946"/>
                  <a:pt x="5018983" y="2135554"/>
                </a:cubicBezTo>
                <a:cubicBezTo>
                  <a:pt x="5005644" y="2286213"/>
                  <a:pt x="4990608" y="2436988"/>
                  <a:pt x="4977834" y="2587648"/>
                </a:cubicBezTo>
                <a:cubicBezTo>
                  <a:pt x="5067734" y="2382804"/>
                  <a:pt x="5169275" y="2185970"/>
                  <a:pt x="5285289" y="2003389"/>
                </a:cubicBezTo>
                <a:cubicBezTo>
                  <a:pt x="5338404" y="1913394"/>
                  <a:pt x="5394693" y="1826992"/>
                  <a:pt x="5453822" y="1744212"/>
                </a:cubicBezTo>
                <a:lnTo>
                  <a:pt x="5559908" y="1608472"/>
                </a:lnTo>
                <a:lnTo>
                  <a:pt x="6798419" y="3071005"/>
                </a:lnTo>
                <a:cubicBezTo>
                  <a:pt x="7022498" y="3349031"/>
                  <a:pt x="6877681" y="3237899"/>
                  <a:pt x="6904383" y="3276626"/>
                </a:cubicBezTo>
                <a:cubicBezTo>
                  <a:pt x="6931085" y="3315353"/>
                  <a:pt x="6916024" y="3277333"/>
                  <a:pt x="6958630" y="3303366"/>
                </a:cubicBezTo>
                <a:cubicBezTo>
                  <a:pt x="6951435" y="3327514"/>
                  <a:pt x="6940360" y="3349895"/>
                  <a:pt x="6929041" y="3371333"/>
                </a:cubicBezTo>
                <a:cubicBezTo>
                  <a:pt x="6903291" y="3416979"/>
                  <a:pt x="6873864" y="3458560"/>
                  <a:pt x="6842183" y="3496813"/>
                </a:cubicBezTo>
                <a:lnTo>
                  <a:pt x="6752598" y="3590980"/>
                </a:lnTo>
                <a:lnTo>
                  <a:pt x="6636435" y="3689350"/>
                </a:lnTo>
                <a:lnTo>
                  <a:pt x="6534262" y="3751543"/>
                </a:lnTo>
                <a:cubicBezTo>
                  <a:pt x="6461450" y="3788383"/>
                  <a:pt x="6386122" y="3811941"/>
                  <a:pt x="6311623" y="3821071"/>
                </a:cubicBezTo>
                <a:cubicBezTo>
                  <a:pt x="6276293" y="3821071"/>
                  <a:pt x="6240237" y="3825901"/>
                  <a:pt x="6205393" y="3821425"/>
                </a:cubicBezTo>
                <a:cubicBezTo>
                  <a:pt x="6173378" y="3816949"/>
                  <a:pt x="6144192" y="3800928"/>
                  <a:pt x="6113794" y="3789856"/>
                </a:cubicBezTo>
                <a:cubicBezTo>
                  <a:pt x="6049199" y="3766885"/>
                  <a:pt x="6001500" y="3706693"/>
                  <a:pt x="5957763" y="3645087"/>
                </a:cubicBezTo>
                <a:cubicBezTo>
                  <a:pt x="5909660" y="3583952"/>
                  <a:pt x="5886294" y="3495606"/>
                  <a:pt x="5871500" y="3407024"/>
                </a:cubicBezTo>
                <a:cubicBezTo>
                  <a:pt x="5863092" y="3348127"/>
                  <a:pt x="5850885" y="3290408"/>
                  <a:pt x="5850157" y="3228802"/>
                </a:cubicBezTo>
                <a:cubicBezTo>
                  <a:pt x="5850400" y="3053642"/>
                  <a:pt x="5852987" y="2878010"/>
                  <a:pt x="5855735" y="2702379"/>
                </a:cubicBezTo>
                <a:cubicBezTo>
                  <a:pt x="5857594" y="2606377"/>
                  <a:pt x="5854684" y="2511200"/>
                  <a:pt x="5851694" y="2416140"/>
                </a:cubicBezTo>
                <a:cubicBezTo>
                  <a:pt x="5851046" y="2390579"/>
                  <a:pt x="5850480" y="2364900"/>
                  <a:pt x="5849753" y="2339220"/>
                </a:cubicBezTo>
                <a:cubicBezTo>
                  <a:pt x="5734872" y="2584115"/>
                  <a:pt x="5634056" y="2840199"/>
                  <a:pt x="5526775" y="3089687"/>
                </a:cubicBezTo>
                <a:cubicBezTo>
                  <a:pt x="5457490" y="3249062"/>
                  <a:pt x="5393056" y="3412090"/>
                  <a:pt x="5318032" y="3567460"/>
                </a:cubicBezTo>
                <a:cubicBezTo>
                  <a:pt x="5246403" y="3703512"/>
                  <a:pt x="5166607" y="3834736"/>
                  <a:pt x="5075333" y="3948996"/>
                </a:cubicBezTo>
                <a:cubicBezTo>
                  <a:pt x="5025128" y="4008364"/>
                  <a:pt x="4978641" y="4074447"/>
                  <a:pt x="4924556" y="4127219"/>
                </a:cubicBezTo>
                <a:cubicBezTo>
                  <a:pt x="4833929" y="4221924"/>
                  <a:pt x="4736267" y="4300730"/>
                  <a:pt x="4635048" y="4368343"/>
                </a:cubicBezTo>
                <a:cubicBezTo>
                  <a:pt x="4545875" y="4421704"/>
                  <a:pt x="4453550" y="4465759"/>
                  <a:pt x="4359931" y="4482250"/>
                </a:cubicBezTo>
                <a:lnTo>
                  <a:pt x="4263401" y="4484960"/>
                </a:lnTo>
                <a:cubicBezTo>
                  <a:pt x="4105994" y="4489435"/>
                  <a:pt x="4027817" y="4304380"/>
                  <a:pt x="3999117" y="4107900"/>
                </a:cubicBezTo>
                <a:cubicBezTo>
                  <a:pt x="3982786" y="3996350"/>
                  <a:pt x="3980765" y="3880086"/>
                  <a:pt x="3984242" y="3763234"/>
                </a:cubicBezTo>
                <a:cubicBezTo>
                  <a:pt x="3985940" y="3624473"/>
                  <a:pt x="3992407" y="3485004"/>
                  <a:pt x="4001623" y="3345301"/>
                </a:cubicBezTo>
                <a:cubicBezTo>
                  <a:pt x="4006959" y="3276980"/>
                  <a:pt x="4012699" y="3208542"/>
                  <a:pt x="4018520" y="3140220"/>
                </a:cubicBezTo>
                <a:cubicBezTo>
                  <a:pt x="3985453" y="3241170"/>
                  <a:pt x="3952307" y="3342120"/>
                  <a:pt x="3918918" y="3442952"/>
                </a:cubicBezTo>
                <a:cubicBezTo>
                  <a:pt x="3863701" y="3611397"/>
                  <a:pt x="3803389" y="3777369"/>
                  <a:pt x="3739925" y="3941692"/>
                </a:cubicBezTo>
                <a:cubicBezTo>
                  <a:pt x="3602570" y="4297548"/>
                  <a:pt x="3480251" y="4629021"/>
                  <a:pt x="3266332" y="4905602"/>
                </a:cubicBezTo>
                <a:cubicBezTo>
                  <a:pt x="3060904" y="5171229"/>
                  <a:pt x="2795488" y="5377722"/>
                  <a:pt x="2513418" y="5349452"/>
                </a:cubicBezTo>
                <a:cubicBezTo>
                  <a:pt x="2339681" y="5332135"/>
                  <a:pt x="2280583" y="5075815"/>
                  <a:pt x="2277187" y="4857072"/>
                </a:cubicBezTo>
                <a:cubicBezTo>
                  <a:pt x="2271851" y="4510050"/>
                  <a:pt x="2288263" y="4162439"/>
                  <a:pt x="2326260" y="3819775"/>
                </a:cubicBezTo>
                <a:cubicBezTo>
                  <a:pt x="2310617" y="3866819"/>
                  <a:pt x="2212992" y="4271266"/>
                  <a:pt x="2048658" y="4760224"/>
                </a:cubicBezTo>
                <a:lnTo>
                  <a:pt x="1996876" y="4908063"/>
                </a:ln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D54D6AB9-BB50-7A8E-96E0-70DFABB05129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6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12A26B-B15B-78FA-A387-E9C046AE6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421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7A49053-BE6C-1C4D-CB70-DBBAF999C80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2687011-3214-FD25-1181-F605A9CA6455}"/>
              </a:ext>
            </a:extLst>
          </p:cNvPr>
          <p:cNvSpPr/>
          <p:nvPr/>
        </p:nvSpPr>
        <p:spPr bwMode="white">
          <a:xfrm>
            <a:off x="0" y="-1"/>
            <a:ext cx="4876800" cy="4680000"/>
          </a:xfrm>
          <a:prstGeom prst="rect">
            <a:avLst/>
          </a:prstGeom>
          <a:gradFill flip="none" rotWithShape="1">
            <a:gsLst>
              <a:gs pos="50000">
                <a:srgbClr val="3AAEF6"/>
              </a:gs>
              <a:gs pos="100000">
                <a:srgbClr val="4F9DFD"/>
              </a:gs>
              <a:gs pos="0">
                <a:srgbClr val="04B8E2"/>
              </a:gs>
            </a:gsLst>
            <a:lin ang="18000000" scaled="0"/>
            <a:tileRect/>
          </a:gradFill>
        </p:spPr>
        <p:txBody>
          <a:bodyPr rtlCol="0" anchor="ctr"/>
          <a:lstStyle/>
          <a:p>
            <a:pPr marR="0" lvl="0" algn="ctr" defTabSz="91440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endParaRPr kumimoji="0" lang="en-PT" b="0" i="0" u="none" strike="noStrike" kern="0" cap="none" spc="0" normalizeH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6" name="Squiggle">
            <a:extLst>
              <a:ext uri="{FF2B5EF4-FFF2-40B4-BE49-F238E27FC236}">
                <a16:creationId xmlns:a16="http://schemas.microsoft.com/office/drawing/2014/main" id="{18F540EF-87D8-0E44-F690-9F7604110481}"/>
              </a:ext>
            </a:extLst>
          </p:cNvPr>
          <p:cNvSpPr/>
          <p:nvPr/>
        </p:nvSpPr>
        <p:spPr>
          <a:xfrm>
            <a:off x="0" y="0"/>
            <a:ext cx="4876800" cy="4680000"/>
          </a:xfrm>
          <a:custGeom>
            <a:avLst/>
            <a:gdLst>
              <a:gd name="connsiteX0" fmla="*/ 4876800 w 4876800"/>
              <a:gd name="connsiteY0" fmla="*/ 3948026 h 4648200"/>
              <a:gd name="connsiteX1" fmla="*/ 4876800 w 4876800"/>
              <a:gd name="connsiteY1" fmla="*/ 4648200 h 4648200"/>
              <a:gd name="connsiteX2" fmla="*/ 3641772 w 4876800"/>
              <a:gd name="connsiteY2" fmla="*/ 4648200 h 4648200"/>
              <a:gd name="connsiteX3" fmla="*/ 2979537 w 4876800"/>
              <a:gd name="connsiteY3" fmla="*/ 0 h 4648200"/>
              <a:gd name="connsiteX4" fmla="*/ 4799703 w 4876800"/>
              <a:gd name="connsiteY4" fmla="*/ 0 h 4648200"/>
              <a:gd name="connsiteX5" fmla="*/ 4807781 w 4876800"/>
              <a:gd name="connsiteY5" fmla="*/ 25078 h 4648200"/>
              <a:gd name="connsiteX6" fmla="*/ 4876075 w 4876800"/>
              <a:gd name="connsiteY6" fmla="*/ 276777 h 4648200"/>
              <a:gd name="connsiteX7" fmla="*/ 4876800 w 4876800"/>
              <a:gd name="connsiteY7" fmla="*/ 279858 h 4648200"/>
              <a:gd name="connsiteX8" fmla="*/ 4876800 w 4876800"/>
              <a:gd name="connsiteY8" fmla="*/ 2099726 h 4648200"/>
              <a:gd name="connsiteX9" fmla="*/ 3571982 w 4876800"/>
              <a:gd name="connsiteY9" fmla="*/ 4648200 h 4648200"/>
              <a:gd name="connsiteX10" fmla="*/ 57811 w 4876800"/>
              <a:gd name="connsiteY10" fmla="*/ 4648200 h 4648200"/>
              <a:gd name="connsiteX11" fmla="*/ 671862 w 4876800"/>
              <a:gd name="connsiteY11" fmla="*/ 0 h 4648200"/>
              <a:gd name="connsiteX12" fmla="*/ 2817209 w 4876800"/>
              <a:gd name="connsiteY12" fmla="*/ 0 h 4648200"/>
              <a:gd name="connsiteX13" fmla="*/ 0 w 4876800"/>
              <a:gd name="connsiteY13" fmla="*/ 2583289 h 4648200"/>
              <a:gd name="connsiteX14" fmla="*/ 0 w 4876800"/>
              <a:gd name="connsiteY14" fmla="*/ 534044 h 464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876800" h="4648200">
                <a:moveTo>
                  <a:pt x="4876800" y="3948026"/>
                </a:moveTo>
                <a:lnTo>
                  <a:pt x="4876800" y="4648200"/>
                </a:lnTo>
                <a:lnTo>
                  <a:pt x="3641772" y="4648200"/>
                </a:lnTo>
                <a:close/>
                <a:moveTo>
                  <a:pt x="2979537" y="0"/>
                </a:moveTo>
                <a:lnTo>
                  <a:pt x="4799703" y="0"/>
                </a:lnTo>
                <a:lnTo>
                  <a:pt x="4807781" y="25078"/>
                </a:lnTo>
                <a:cubicBezTo>
                  <a:pt x="4831182" y="102611"/>
                  <a:pt x="4853944" y="186832"/>
                  <a:pt x="4876075" y="276777"/>
                </a:cubicBezTo>
                <a:lnTo>
                  <a:pt x="4876800" y="279858"/>
                </a:lnTo>
                <a:lnTo>
                  <a:pt x="4876800" y="2099726"/>
                </a:lnTo>
                <a:lnTo>
                  <a:pt x="3571982" y="4648200"/>
                </a:lnTo>
                <a:lnTo>
                  <a:pt x="57811" y="4648200"/>
                </a:lnTo>
                <a:close/>
                <a:moveTo>
                  <a:pt x="671862" y="0"/>
                </a:moveTo>
                <a:lnTo>
                  <a:pt x="2817209" y="0"/>
                </a:lnTo>
                <a:lnTo>
                  <a:pt x="0" y="2583289"/>
                </a:lnTo>
                <a:lnTo>
                  <a:pt x="0" y="534044"/>
                </a:lnTo>
                <a:close/>
              </a:path>
            </a:pathLst>
          </a:custGeom>
          <a:gradFill>
            <a:gsLst>
              <a:gs pos="100000">
                <a:srgbClr val="399BF5"/>
              </a:gs>
              <a:gs pos="0">
                <a:srgbClr val="26A4EE"/>
              </a:gs>
            </a:gsLst>
            <a:lin ang="16200000" scaled="0"/>
          </a:gra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03200" tIns="203200" rIns="203200" bIns="203200" rtlCol="0" anchor="ctr">
            <a:noAutofit/>
          </a:bodyPr>
          <a:lstStyle/>
          <a:p>
            <a:pPr algn="ctr" defTabSz="486000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046110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woos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dient Background">
            <a:extLst>
              <a:ext uri="{FF2B5EF4-FFF2-40B4-BE49-F238E27FC236}">
                <a16:creationId xmlns:a16="http://schemas.microsoft.com/office/drawing/2014/main" id="{7BDE401D-4346-E214-A278-26C52B091835}"/>
              </a:ext>
            </a:extLst>
          </p:cNvPr>
          <p:cNvSpPr/>
          <p:nvPr userDrawn="1"/>
        </p:nvSpPr>
        <p:spPr>
          <a:xfrm>
            <a:off x="0" y="2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sz="1800"/>
          </a:p>
        </p:txBody>
      </p:sp>
      <p:sp>
        <p:nvSpPr>
          <p:cNvPr id="12" name="Squiggle">
            <a:extLst>
              <a:ext uri="{FF2B5EF4-FFF2-40B4-BE49-F238E27FC236}">
                <a16:creationId xmlns:a16="http://schemas.microsoft.com/office/drawing/2014/main" id="{92B22213-A051-71E7-9A41-11A3E82568DA}"/>
              </a:ext>
            </a:extLst>
          </p:cNvPr>
          <p:cNvSpPr>
            <a:spLocks/>
          </p:cNvSpPr>
          <p:nvPr userDrawn="1"/>
        </p:nvSpPr>
        <p:spPr bwMode="ltGray">
          <a:xfrm rot="8762903">
            <a:off x="-918619" y="638750"/>
            <a:ext cx="13864612" cy="6245410"/>
          </a:xfrm>
          <a:custGeom>
            <a:avLst/>
            <a:gdLst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996876 w 6958630"/>
              <a:gd name="connsiteY11" fmla="*/ 4908063 h 5352044"/>
              <a:gd name="connsiteX12" fmla="*/ 1398177 w 6958630"/>
              <a:gd name="connsiteY12" fmla="*/ 4201072 h 5352044"/>
              <a:gd name="connsiteX13" fmla="*/ 1590566 w 6958630"/>
              <a:gd name="connsiteY13" fmla="*/ 3604919 h 5352044"/>
              <a:gd name="connsiteX14" fmla="*/ 1974502 w 6958630"/>
              <a:gd name="connsiteY14" fmla="*/ 2496593 h 5352044"/>
              <a:gd name="connsiteX15" fmla="*/ 2349059 w 6958630"/>
              <a:gd name="connsiteY15" fmla="*/ 1514660 h 5352044"/>
              <a:gd name="connsiteX16" fmla="*/ 2474209 w 6958630"/>
              <a:gd name="connsiteY16" fmla="*/ 1195792 h 5352044"/>
              <a:gd name="connsiteX17" fmla="*/ 2595638 w 6958630"/>
              <a:gd name="connsiteY17" fmla="*/ 980346 h 5352044"/>
              <a:gd name="connsiteX18" fmla="*/ 3160829 w 6958630"/>
              <a:gd name="connsiteY18" fmla="*/ 512585 h 5352044"/>
              <a:gd name="connsiteX19" fmla="*/ 3435866 w 6958630"/>
              <a:gd name="connsiteY19" fmla="*/ 585618 h 5352044"/>
              <a:gd name="connsiteX20" fmla="*/ 3450660 w 6958630"/>
              <a:gd name="connsiteY20" fmla="*/ 838639 h 5352044"/>
              <a:gd name="connsiteX21" fmla="*/ 3404013 w 6958630"/>
              <a:gd name="connsiteY21" fmla="*/ 1499936 h 5352044"/>
              <a:gd name="connsiteX22" fmla="*/ 3313870 w 6958630"/>
              <a:gd name="connsiteY22" fmla="*/ 2850918 h 5352044"/>
              <a:gd name="connsiteX23" fmla="*/ 3369572 w 6958630"/>
              <a:gd name="connsiteY23" fmla="*/ 2686006 h 5352044"/>
              <a:gd name="connsiteX24" fmla="*/ 3706860 w 6958630"/>
              <a:gd name="connsiteY24" fmla="*/ 1716324 h 5352044"/>
              <a:gd name="connsiteX25" fmla="*/ 3936380 w 6958630"/>
              <a:gd name="connsiteY25" fmla="*/ 1155977 h 5352044"/>
              <a:gd name="connsiteX26" fmla="*/ 4337132 w 6958630"/>
              <a:gd name="connsiteY26" fmla="*/ 522126 h 5352044"/>
              <a:gd name="connsiteX27" fmla="*/ 4436557 w 6958630"/>
              <a:gd name="connsiteY27" fmla="*/ 425574 h 5352044"/>
              <a:gd name="connsiteX28" fmla="*/ 4508920 w 6958630"/>
              <a:gd name="connsiteY28" fmla="*/ 367382 h 5352044"/>
              <a:gd name="connsiteX29" fmla="*/ 5115640 w 6958630"/>
              <a:gd name="connsiteY29" fmla="*/ 1083845 h 5352044"/>
              <a:gd name="connsiteX30" fmla="*/ 5115018 w 6958630"/>
              <a:gd name="connsiteY30" fmla="*/ 1096653 h 5352044"/>
              <a:gd name="connsiteX31" fmla="*/ 5091987 w 6958630"/>
              <a:gd name="connsiteY31" fmla="*/ 1380611 h 5352044"/>
              <a:gd name="connsiteX32" fmla="*/ 5018983 w 6958630"/>
              <a:gd name="connsiteY32" fmla="*/ 2135554 h 5352044"/>
              <a:gd name="connsiteX33" fmla="*/ 4977834 w 6958630"/>
              <a:gd name="connsiteY33" fmla="*/ 2587648 h 5352044"/>
              <a:gd name="connsiteX34" fmla="*/ 5285289 w 6958630"/>
              <a:gd name="connsiteY34" fmla="*/ 2003389 h 5352044"/>
              <a:gd name="connsiteX35" fmla="*/ 5453822 w 6958630"/>
              <a:gd name="connsiteY35" fmla="*/ 1744212 h 5352044"/>
              <a:gd name="connsiteX36" fmla="*/ 5559908 w 6958630"/>
              <a:gd name="connsiteY36" fmla="*/ 1608472 h 5352044"/>
              <a:gd name="connsiteX37" fmla="*/ 6798419 w 6958630"/>
              <a:gd name="connsiteY37" fmla="*/ 3071005 h 5352044"/>
              <a:gd name="connsiteX38" fmla="*/ 6799849 w 6958630"/>
              <a:gd name="connsiteY38" fmla="*/ 3148467 h 5352044"/>
              <a:gd name="connsiteX39" fmla="*/ 6825478 w 6958630"/>
              <a:gd name="connsiteY39" fmla="*/ 3218437 h 5352044"/>
              <a:gd name="connsiteX40" fmla="*/ 6835906 w 6958630"/>
              <a:gd name="connsiteY40" fmla="*/ 3236811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825478 w 6958630"/>
              <a:gd name="connsiteY40" fmla="*/ 3218437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75" fmla="*/ 1996876 w 6958630"/>
              <a:gd name="connsiteY75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904383 w 6958630"/>
              <a:gd name="connsiteY40" fmla="*/ 3276626 h 5352044"/>
              <a:gd name="connsiteX41" fmla="*/ 6958630 w 6958630"/>
              <a:gd name="connsiteY41" fmla="*/ 3303366 h 5352044"/>
              <a:gd name="connsiteX42" fmla="*/ 6929041 w 6958630"/>
              <a:gd name="connsiteY42" fmla="*/ 3371333 h 5352044"/>
              <a:gd name="connsiteX43" fmla="*/ 6842183 w 6958630"/>
              <a:gd name="connsiteY43" fmla="*/ 3496813 h 5352044"/>
              <a:gd name="connsiteX44" fmla="*/ 6752598 w 6958630"/>
              <a:gd name="connsiteY44" fmla="*/ 3590980 h 5352044"/>
              <a:gd name="connsiteX45" fmla="*/ 6636435 w 6958630"/>
              <a:gd name="connsiteY45" fmla="*/ 3689350 h 5352044"/>
              <a:gd name="connsiteX46" fmla="*/ 6534262 w 6958630"/>
              <a:gd name="connsiteY46" fmla="*/ 3751543 h 5352044"/>
              <a:gd name="connsiteX47" fmla="*/ 6311623 w 6958630"/>
              <a:gd name="connsiteY47" fmla="*/ 3821071 h 5352044"/>
              <a:gd name="connsiteX48" fmla="*/ 6205393 w 6958630"/>
              <a:gd name="connsiteY48" fmla="*/ 3821425 h 5352044"/>
              <a:gd name="connsiteX49" fmla="*/ 6113794 w 6958630"/>
              <a:gd name="connsiteY49" fmla="*/ 3789856 h 5352044"/>
              <a:gd name="connsiteX50" fmla="*/ 5957763 w 6958630"/>
              <a:gd name="connsiteY50" fmla="*/ 3645087 h 5352044"/>
              <a:gd name="connsiteX51" fmla="*/ 5871500 w 6958630"/>
              <a:gd name="connsiteY51" fmla="*/ 3407024 h 5352044"/>
              <a:gd name="connsiteX52" fmla="*/ 5850157 w 6958630"/>
              <a:gd name="connsiteY52" fmla="*/ 3228802 h 5352044"/>
              <a:gd name="connsiteX53" fmla="*/ 5855735 w 6958630"/>
              <a:gd name="connsiteY53" fmla="*/ 2702379 h 5352044"/>
              <a:gd name="connsiteX54" fmla="*/ 5851694 w 6958630"/>
              <a:gd name="connsiteY54" fmla="*/ 2416140 h 5352044"/>
              <a:gd name="connsiteX55" fmla="*/ 5849753 w 6958630"/>
              <a:gd name="connsiteY55" fmla="*/ 2339220 h 5352044"/>
              <a:gd name="connsiteX56" fmla="*/ 5526775 w 6958630"/>
              <a:gd name="connsiteY56" fmla="*/ 3089687 h 5352044"/>
              <a:gd name="connsiteX57" fmla="*/ 5318032 w 6958630"/>
              <a:gd name="connsiteY57" fmla="*/ 3567460 h 5352044"/>
              <a:gd name="connsiteX58" fmla="*/ 5075333 w 6958630"/>
              <a:gd name="connsiteY58" fmla="*/ 3948996 h 5352044"/>
              <a:gd name="connsiteX59" fmla="*/ 4924556 w 6958630"/>
              <a:gd name="connsiteY59" fmla="*/ 4127219 h 5352044"/>
              <a:gd name="connsiteX60" fmla="*/ 4635048 w 6958630"/>
              <a:gd name="connsiteY60" fmla="*/ 4368343 h 5352044"/>
              <a:gd name="connsiteX61" fmla="*/ 4359931 w 6958630"/>
              <a:gd name="connsiteY61" fmla="*/ 4482250 h 5352044"/>
              <a:gd name="connsiteX62" fmla="*/ 4263401 w 6958630"/>
              <a:gd name="connsiteY62" fmla="*/ 4484960 h 5352044"/>
              <a:gd name="connsiteX63" fmla="*/ 3999117 w 6958630"/>
              <a:gd name="connsiteY63" fmla="*/ 4107900 h 5352044"/>
              <a:gd name="connsiteX64" fmla="*/ 3984242 w 6958630"/>
              <a:gd name="connsiteY64" fmla="*/ 3763234 h 5352044"/>
              <a:gd name="connsiteX65" fmla="*/ 4001623 w 6958630"/>
              <a:gd name="connsiteY65" fmla="*/ 3345301 h 5352044"/>
              <a:gd name="connsiteX66" fmla="*/ 4018520 w 6958630"/>
              <a:gd name="connsiteY66" fmla="*/ 3140220 h 5352044"/>
              <a:gd name="connsiteX67" fmla="*/ 3918918 w 6958630"/>
              <a:gd name="connsiteY67" fmla="*/ 3442952 h 5352044"/>
              <a:gd name="connsiteX68" fmla="*/ 3739925 w 6958630"/>
              <a:gd name="connsiteY68" fmla="*/ 3941692 h 5352044"/>
              <a:gd name="connsiteX69" fmla="*/ 3266332 w 6958630"/>
              <a:gd name="connsiteY69" fmla="*/ 4905602 h 5352044"/>
              <a:gd name="connsiteX70" fmla="*/ 2513418 w 6958630"/>
              <a:gd name="connsiteY70" fmla="*/ 5349452 h 5352044"/>
              <a:gd name="connsiteX71" fmla="*/ 2277187 w 6958630"/>
              <a:gd name="connsiteY71" fmla="*/ 4857072 h 5352044"/>
              <a:gd name="connsiteX72" fmla="*/ 2326260 w 6958630"/>
              <a:gd name="connsiteY72" fmla="*/ 3819775 h 5352044"/>
              <a:gd name="connsiteX73" fmla="*/ 2048658 w 6958630"/>
              <a:gd name="connsiteY73" fmla="*/ 4760224 h 5352044"/>
              <a:gd name="connsiteX74" fmla="*/ 1996876 w 6958630"/>
              <a:gd name="connsiteY74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904383 w 6958630"/>
              <a:gd name="connsiteY39" fmla="*/ 3276626 h 5352044"/>
              <a:gd name="connsiteX40" fmla="*/ 6958630 w 6958630"/>
              <a:gd name="connsiteY40" fmla="*/ 3303366 h 5352044"/>
              <a:gd name="connsiteX41" fmla="*/ 6929041 w 6958630"/>
              <a:gd name="connsiteY41" fmla="*/ 3371333 h 5352044"/>
              <a:gd name="connsiteX42" fmla="*/ 6842183 w 6958630"/>
              <a:gd name="connsiteY42" fmla="*/ 3496813 h 5352044"/>
              <a:gd name="connsiteX43" fmla="*/ 6752598 w 6958630"/>
              <a:gd name="connsiteY43" fmla="*/ 3590980 h 5352044"/>
              <a:gd name="connsiteX44" fmla="*/ 6636435 w 6958630"/>
              <a:gd name="connsiteY44" fmla="*/ 3689350 h 5352044"/>
              <a:gd name="connsiteX45" fmla="*/ 6534262 w 6958630"/>
              <a:gd name="connsiteY45" fmla="*/ 3751543 h 5352044"/>
              <a:gd name="connsiteX46" fmla="*/ 6311623 w 6958630"/>
              <a:gd name="connsiteY46" fmla="*/ 3821071 h 5352044"/>
              <a:gd name="connsiteX47" fmla="*/ 6205393 w 6958630"/>
              <a:gd name="connsiteY47" fmla="*/ 3821425 h 5352044"/>
              <a:gd name="connsiteX48" fmla="*/ 6113794 w 6958630"/>
              <a:gd name="connsiteY48" fmla="*/ 3789856 h 5352044"/>
              <a:gd name="connsiteX49" fmla="*/ 5957763 w 6958630"/>
              <a:gd name="connsiteY49" fmla="*/ 3645087 h 5352044"/>
              <a:gd name="connsiteX50" fmla="*/ 5871500 w 6958630"/>
              <a:gd name="connsiteY50" fmla="*/ 3407024 h 5352044"/>
              <a:gd name="connsiteX51" fmla="*/ 5850157 w 6958630"/>
              <a:gd name="connsiteY51" fmla="*/ 3228802 h 5352044"/>
              <a:gd name="connsiteX52" fmla="*/ 5855735 w 6958630"/>
              <a:gd name="connsiteY52" fmla="*/ 2702379 h 5352044"/>
              <a:gd name="connsiteX53" fmla="*/ 5851694 w 6958630"/>
              <a:gd name="connsiteY53" fmla="*/ 2416140 h 5352044"/>
              <a:gd name="connsiteX54" fmla="*/ 5849753 w 6958630"/>
              <a:gd name="connsiteY54" fmla="*/ 2339220 h 5352044"/>
              <a:gd name="connsiteX55" fmla="*/ 5526775 w 6958630"/>
              <a:gd name="connsiteY55" fmla="*/ 3089687 h 5352044"/>
              <a:gd name="connsiteX56" fmla="*/ 5318032 w 6958630"/>
              <a:gd name="connsiteY56" fmla="*/ 3567460 h 5352044"/>
              <a:gd name="connsiteX57" fmla="*/ 5075333 w 6958630"/>
              <a:gd name="connsiteY57" fmla="*/ 3948996 h 5352044"/>
              <a:gd name="connsiteX58" fmla="*/ 4924556 w 6958630"/>
              <a:gd name="connsiteY58" fmla="*/ 4127219 h 5352044"/>
              <a:gd name="connsiteX59" fmla="*/ 4635048 w 6958630"/>
              <a:gd name="connsiteY59" fmla="*/ 4368343 h 5352044"/>
              <a:gd name="connsiteX60" fmla="*/ 4359931 w 6958630"/>
              <a:gd name="connsiteY60" fmla="*/ 4482250 h 5352044"/>
              <a:gd name="connsiteX61" fmla="*/ 4263401 w 6958630"/>
              <a:gd name="connsiteY61" fmla="*/ 4484960 h 5352044"/>
              <a:gd name="connsiteX62" fmla="*/ 3999117 w 6958630"/>
              <a:gd name="connsiteY62" fmla="*/ 4107900 h 5352044"/>
              <a:gd name="connsiteX63" fmla="*/ 3984242 w 6958630"/>
              <a:gd name="connsiteY63" fmla="*/ 3763234 h 5352044"/>
              <a:gd name="connsiteX64" fmla="*/ 4001623 w 6958630"/>
              <a:gd name="connsiteY64" fmla="*/ 3345301 h 5352044"/>
              <a:gd name="connsiteX65" fmla="*/ 4018520 w 6958630"/>
              <a:gd name="connsiteY65" fmla="*/ 3140220 h 5352044"/>
              <a:gd name="connsiteX66" fmla="*/ 3918918 w 6958630"/>
              <a:gd name="connsiteY66" fmla="*/ 3442952 h 5352044"/>
              <a:gd name="connsiteX67" fmla="*/ 3739925 w 6958630"/>
              <a:gd name="connsiteY67" fmla="*/ 3941692 h 5352044"/>
              <a:gd name="connsiteX68" fmla="*/ 3266332 w 6958630"/>
              <a:gd name="connsiteY68" fmla="*/ 4905602 h 5352044"/>
              <a:gd name="connsiteX69" fmla="*/ 2513418 w 6958630"/>
              <a:gd name="connsiteY69" fmla="*/ 5349452 h 5352044"/>
              <a:gd name="connsiteX70" fmla="*/ 2277187 w 6958630"/>
              <a:gd name="connsiteY70" fmla="*/ 4857072 h 5352044"/>
              <a:gd name="connsiteX71" fmla="*/ 2326260 w 6958630"/>
              <a:gd name="connsiteY71" fmla="*/ 3819775 h 5352044"/>
              <a:gd name="connsiteX72" fmla="*/ 2048658 w 6958630"/>
              <a:gd name="connsiteY72" fmla="*/ 4760224 h 5352044"/>
              <a:gd name="connsiteX73" fmla="*/ 1996876 w 6958630"/>
              <a:gd name="connsiteY73" fmla="*/ 4908063 h 5352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6958630" h="5352044">
                <a:moveTo>
                  <a:pt x="1075189" y="3819662"/>
                </a:moveTo>
                <a:lnTo>
                  <a:pt x="0" y="2549993"/>
                </a:lnTo>
                <a:lnTo>
                  <a:pt x="273834" y="1601357"/>
                </a:lnTo>
                <a:cubicBezTo>
                  <a:pt x="334145" y="1401224"/>
                  <a:pt x="392071" y="1194731"/>
                  <a:pt x="455464" y="992346"/>
                </a:cubicBezTo>
                <a:lnTo>
                  <a:pt x="482058" y="912917"/>
                </a:lnTo>
                <a:lnTo>
                  <a:pt x="1560103" y="0"/>
                </a:lnTo>
                <a:lnTo>
                  <a:pt x="1563049" y="19661"/>
                </a:lnTo>
                <a:cubicBezTo>
                  <a:pt x="1562735" y="79603"/>
                  <a:pt x="1547759" y="145008"/>
                  <a:pt x="1535672" y="208675"/>
                </a:cubicBezTo>
                <a:cubicBezTo>
                  <a:pt x="1503981" y="375590"/>
                  <a:pt x="1464447" y="539089"/>
                  <a:pt x="1431946" y="705650"/>
                </a:cubicBezTo>
                <a:cubicBezTo>
                  <a:pt x="1382793" y="957376"/>
                  <a:pt x="1338086" y="1211340"/>
                  <a:pt x="1308739" y="1469663"/>
                </a:cubicBezTo>
                <a:cubicBezTo>
                  <a:pt x="1231248" y="2152398"/>
                  <a:pt x="1132111" y="2839043"/>
                  <a:pt x="1089432" y="3521397"/>
                </a:cubicBezTo>
                <a:lnTo>
                  <a:pt x="1075189" y="3819662"/>
                </a:lnTo>
                <a:close/>
                <a:moveTo>
                  <a:pt x="1996876" y="4908063"/>
                </a:moveTo>
                <a:lnTo>
                  <a:pt x="1398177" y="4201072"/>
                </a:lnTo>
                <a:lnTo>
                  <a:pt x="1590566" y="3604919"/>
                </a:lnTo>
                <a:cubicBezTo>
                  <a:pt x="1715230" y="3233985"/>
                  <a:pt x="1843451" y="2864347"/>
                  <a:pt x="1974502" y="2496593"/>
                </a:cubicBezTo>
                <a:cubicBezTo>
                  <a:pt x="2096579" y="2167829"/>
                  <a:pt x="2219221" y="1839301"/>
                  <a:pt x="2349059" y="1514660"/>
                </a:cubicBezTo>
                <a:cubicBezTo>
                  <a:pt x="2389159" y="1407350"/>
                  <a:pt x="2429178" y="1300275"/>
                  <a:pt x="2474209" y="1195792"/>
                </a:cubicBezTo>
                <a:cubicBezTo>
                  <a:pt x="2506143" y="1116870"/>
                  <a:pt x="2552548" y="1049491"/>
                  <a:pt x="2595638" y="980346"/>
                </a:cubicBezTo>
                <a:cubicBezTo>
                  <a:pt x="2735420" y="756066"/>
                  <a:pt x="2952975" y="554992"/>
                  <a:pt x="3160829" y="512585"/>
                </a:cubicBezTo>
                <a:cubicBezTo>
                  <a:pt x="3221463" y="500216"/>
                  <a:pt x="3408378" y="448388"/>
                  <a:pt x="3435866" y="585618"/>
                </a:cubicBezTo>
                <a:cubicBezTo>
                  <a:pt x="3451954" y="666424"/>
                  <a:pt x="3452762" y="752296"/>
                  <a:pt x="3450660" y="838639"/>
                </a:cubicBezTo>
                <a:cubicBezTo>
                  <a:pt x="3439018" y="1058797"/>
                  <a:pt x="3418080" y="1279661"/>
                  <a:pt x="3404013" y="1499936"/>
                </a:cubicBezTo>
                <a:cubicBezTo>
                  <a:pt x="3374990" y="1950264"/>
                  <a:pt x="3346451" y="2400472"/>
                  <a:pt x="3313870" y="2850918"/>
                </a:cubicBezTo>
                <a:cubicBezTo>
                  <a:pt x="3332222" y="2798028"/>
                  <a:pt x="3350735" y="2741958"/>
                  <a:pt x="3369572" y="2686006"/>
                </a:cubicBezTo>
                <a:cubicBezTo>
                  <a:pt x="3474752" y="2359481"/>
                  <a:pt x="3593999" y="2039316"/>
                  <a:pt x="3706860" y="1716324"/>
                </a:cubicBezTo>
                <a:cubicBezTo>
                  <a:pt x="3783340" y="1529502"/>
                  <a:pt x="3858769" y="1342092"/>
                  <a:pt x="3936380" y="1155977"/>
                </a:cubicBezTo>
                <a:cubicBezTo>
                  <a:pt x="4039217" y="901659"/>
                  <a:pt x="4175037" y="691750"/>
                  <a:pt x="4337132" y="522126"/>
                </a:cubicBezTo>
                <a:cubicBezTo>
                  <a:pt x="4369187" y="488614"/>
                  <a:pt x="4402385" y="456103"/>
                  <a:pt x="4436557" y="425574"/>
                </a:cubicBezTo>
                <a:lnTo>
                  <a:pt x="4508920" y="367382"/>
                </a:lnTo>
                <a:lnTo>
                  <a:pt x="5115640" y="1083845"/>
                </a:lnTo>
                <a:cubicBezTo>
                  <a:pt x="5115433" y="1088114"/>
                  <a:pt x="5115225" y="1092384"/>
                  <a:pt x="5115018" y="1096653"/>
                </a:cubicBezTo>
                <a:cubicBezTo>
                  <a:pt x="5108399" y="1191256"/>
                  <a:pt x="5100234" y="1285963"/>
                  <a:pt x="5091987" y="1380611"/>
                </a:cubicBezTo>
                <a:cubicBezTo>
                  <a:pt x="5067734" y="1632219"/>
                  <a:pt x="5042105" y="1883946"/>
                  <a:pt x="5018983" y="2135554"/>
                </a:cubicBezTo>
                <a:cubicBezTo>
                  <a:pt x="5005644" y="2286213"/>
                  <a:pt x="4990608" y="2436988"/>
                  <a:pt x="4977834" y="2587648"/>
                </a:cubicBezTo>
                <a:cubicBezTo>
                  <a:pt x="5067734" y="2382804"/>
                  <a:pt x="5169275" y="2185970"/>
                  <a:pt x="5285289" y="2003389"/>
                </a:cubicBezTo>
                <a:cubicBezTo>
                  <a:pt x="5338404" y="1913394"/>
                  <a:pt x="5394693" y="1826992"/>
                  <a:pt x="5453822" y="1744212"/>
                </a:cubicBezTo>
                <a:lnTo>
                  <a:pt x="5559908" y="1608472"/>
                </a:lnTo>
                <a:lnTo>
                  <a:pt x="6798419" y="3071005"/>
                </a:lnTo>
                <a:cubicBezTo>
                  <a:pt x="7022498" y="3349031"/>
                  <a:pt x="6877681" y="3237899"/>
                  <a:pt x="6904383" y="3276626"/>
                </a:cubicBezTo>
                <a:cubicBezTo>
                  <a:pt x="6931085" y="3315353"/>
                  <a:pt x="6916024" y="3277333"/>
                  <a:pt x="6958630" y="3303366"/>
                </a:cubicBezTo>
                <a:cubicBezTo>
                  <a:pt x="6951435" y="3327514"/>
                  <a:pt x="6940360" y="3349895"/>
                  <a:pt x="6929041" y="3371333"/>
                </a:cubicBezTo>
                <a:cubicBezTo>
                  <a:pt x="6903291" y="3416979"/>
                  <a:pt x="6873864" y="3458560"/>
                  <a:pt x="6842183" y="3496813"/>
                </a:cubicBezTo>
                <a:lnTo>
                  <a:pt x="6752598" y="3590980"/>
                </a:lnTo>
                <a:lnTo>
                  <a:pt x="6636435" y="3689350"/>
                </a:lnTo>
                <a:lnTo>
                  <a:pt x="6534262" y="3751543"/>
                </a:lnTo>
                <a:cubicBezTo>
                  <a:pt x="6461450" y="3788383"/>
                  <a:pt x="6386122" y="3811941"/>
                  <a:pt x="6311623" y="3821071"/>
                </a:cubicBezTo>
                <a:cubicBezTo>
                  <a:pt x="6276293" y="3821071"/>
                  <a:pt x="6240237" y="3825901"/>
                  <a:pt x="6205393" y="3821425"/>
                </a:cubicBezTo>
                <a:cubicBezTo>
                  <a:pt x="6173378" y="3816949"/>
                  <a:pt x="6144192" y="3800928"/>
                  <a:pt x="6113794" y="3789856"/>
                </a:cubicBezTo>
                <a:cubicBezTo>
                  <a:pt x="6049199" y="3766885"/>
                  <a:pt x="6001500" y="3706693"/>
                  <a:pt x="5957763" y="3645087"/>
                </a:cubicBezTo>
                <a:cubicBezTo>
                  <a:pt x="5909660" y="3583952"/>
                  <a:pt x="5886294" y="3495606"/>
                  <a:pt x="5871500" y="3407024"/>
                </a:cubicBezTo>
                <a:cubicBezTo>
                  <a:pt x="5863092" y="3348127"/>
                  <a:pt x="5850885" y="3290408"/>
                  <a:pt x="5850157" y="3228802"/>
                </a:cubicBezTo>
                <a:cubicBezTo>
                  <a:pt x="5850400" y="3053642"/>
                  <a:pt x="5852987" y="2878010"/>
                  <a:pt x="5855735" y="2702379"/>
                </a:cubicBezTo>
                <a:cubicBezTo>
                  <a:pt x="5857594" y="2606377"/>
                  <a:pt x="5854684" y="2511200"/>
                  <a:pt x="5851694" y="2416140"/>
                </a:cubicBezTo>
                <a:cubicBezTo>
                  <a:pt x="5851046" y="2390579"/>
                  <a:pt x="5850480" y="2364900"/>
                  <a:pt x="5849753" y="2339220"/>
                </a:cubicBezTo>
                <a:cubicBezTo>
                  <a:pt x="5734872" y="2584115"/>
                  <a:pt x="5634056" y="2840199"/>
                  <a:pt x="5526775" y="3089687"/>
                </a:cubicBezTo>
                <a:cubicBezTo>
                  <a:pt x="5457490" y="3249062"/>
                  <a:pt x="5393056" y="3412090"/>
                  <a:pt x="5318032" y="3567460"/>
                </a:cubicBezTo>
                <a:cubicBezTo>
                  <a:pt x="5246403" y="3703512"/>
                  <a:pt x="5166607" y="3834736"/>
                  <a:pt x="5075333" y="3948996"/>
                </a:cubicBezTo>
                <a:cubicBezTo>
                  <a:pt x="5025128" y="4008364"/>
                  <a:pt x="4978641" y="4074447"/>
                  <a:pt x="4924556" y="4127219"/>
                </a:cubicBezTo>
                <a:cubicBezTo>
                  <a:pt x="4833929" y="4221924"/>
                  <a:pt x="4736267" y="4300730"/>
                  <a:pt x="4635048" y="4368343"/>
                </a:cubicBezTo>
                <a:cubicBezTo>
                  <a:pt x="4545875" y="4421704"/>
                  <a:pt x="4453550" y="4465759"/>
                  <a:pt x="4359931" y="4482250"/>
                </a:cubicBezTo>
                <a:lnTo>
                  <a:pt x="4263401" y="4484960"/>
                </a:lnTo>
                <a:cubicBezTo>
                  <a:pt x="4105994" y="4489435"/>
                  <a:pt x="4027817" y="4304380"/>
                  <a:pt x="3999117" y="4107900"/>
                </a:cubicBezTo>
                <a:cubicBezTo>
                  <a:pt x="3982786" y="3996350"/>
                  <a:pt x="3980765" y="3880086"/>
                  <a:pt x="3984242" y="3763234"/>
                </a:cubicBezTo>
                <a:cubicBezTo>
                  <a:pt x="3985940" y="3624473"/>
                  <a:pt x="3992407" y="3485004"/>
                  <a:pt x="4001623" y="3345301"/>
                </a:cubicBezTo>
                <a:cubicBezTo>
                  <a:pt x="4006959" y="3276980"/>
                  <a:pt x="4012699" y="3208542"/>
                  <a:pt x="4018520" y="3140220"/>
                </a:cubicBezTo>
                <a:cubicBezTo>
                  <a:pt x="3985453" y="3241170"/>
                  <a:pt x="3952307" y="3342120"/>
                  <a:pt x="3918918" y="3442952"/>
                </a:cubicBezTo>
                <a:cubicBezTo>
                  <a:pt x="3863701" y="3611397"/>
                  <a:pt x="3803389" y="3777369"/>
                  <a:pt x="3739925" y="3941692"/>
                </a:cubicBezTo>
                <a:cubicBezTo>
                  <a:pt x="3602570" y="4297548"/>
                  <a:pt x="3480251" y="4629021"/>
                  <a:pt x="3266332" y="4905602"/>
                </a:cubicBezTo>
                <a:cubicBezTo>
                  <a:pt x="3060904" y="5171229"/>
                  <a:pt x="2795488" y="5377722"/>
                  <a:pt x="2513418" y="5349452"/>
                </a:cubicBezTo>
                <a:cubicBezTo>
                  <a:pt x="2339681" y="5332135"/>
                  <a:pt x="2280583" y="5075815"/>
                  <a:pt x="2277187" y="4857072"/>
                </a:cubicBezTo>
                <a:cubicBezTo>
                  <a:pt x="2271851" y="4510050"/>
                  <a:pt x="2288263" y="4162439"/>
                  <a:pt x="2326260" y="3819775"/>
                </a:cubicBezTo>
                <a:cubicBezTo>
                  <a:pt x="2310617" y="3866819"/>
                  <a:pt x="2212992" y="4271266"/>
                  <a:pt x="2048658" y="4760224"/>
                </a:cubicBezTo>
                <a:lnTo>
                  <a:pt x="1996876" y="4908063"/>
                </a:ln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10" name="Page Number">
            <a:extLst>
              <a:ext uri="{FF2B5EF4-FFF2-40B4-BE49-F238E27FC236}">
                <a16:creationId xmlns:a16="http://schemas.microsoft.com/office/drawing/2014/main" id="{B55B9341-9544-C158-D07A-111F9336852E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6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0CE39731-51F7-534C-C99E-3EF237C37E9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52001" y="1700808"/>
            <a:ext cx="11088001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824834-4FB9-36DE-58A3-BE0BA2340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8963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9550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ight Blu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age Number">
            <a:extLst>
              <a:ext uri="{FF2B5EF4-FFF2-40B4-BE49-F238E27FC236}">
                <a16:creationId xmlns:a16="http://schemas.microsoft.com/office/drawing/2014/main" id="{AD1E3271-5090-C512-48EF-8FBB3657A624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6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54999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Blue Squigg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Box">
            <a:extLst>
              <a:ext uri="{FF2B5EF4-FFF2-40B4-BE49-F238E27FC236}">
                <a16:creationId xmlns:a16="http://schemas.microsoft.com/office/drawing/2014/main" id="{20D1D068-8642-4E0E-61F9-86262A4F54E3}"/>
              </a:ext>
            </a:extLst>
          </p:cNvPr>
          <p:cNvSpPr/>
          <p:nvPr/>
        </p:nvSpPr>
        <p:spPr bwMode="white">
          <a:xfrm>
            <a:off x="0" y="2006601"/>
            <a:ext cx="6096000" cy="4851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sz="1800"/>
          </a:p>
        </p:txBody>
      </p:sp>
      <p:sp>
        <p:nvSpPr>
          <p:cNvPr id="11" name="Squiggle">
            <a:extLst>
              <a:ext uri="{FF2B5EF4-FFF2-40B4-BE49-F238E27FC236}">
                <a16:creationId xmlns:a16="http://schemas.microsoft.com/office/drawing/2014/main" id="{9A328A6D-FD87-898A-9B1A-71C3E60F33FF}"/>
              </a:ext>
            </a:extLst>
          </p:cNvPr>
          <p:cNvSpPr/>
          <p:nvPr/>
        </p:nvSpPr>
        <p:spPr bwMode="invGray">
          <a:xfrm rot="7815528">
            <a:off x="-837800" y="-132284"/>
            <a:ext cx="9817614" cy="7561373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4182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Box">
            <a:extLst>
              <a:ext uri="{FF2B5EF4-FFF2-40B4-BE49-F238E27FC236}">
                <a16:creationId xmlns:a16="http://schemas.microsoft.com/office/drawing/2014/main" id="{20D1D068-8642-4E0E-61F9-86262A4F54E3}"/>
              </a:ext>
            </a:extLst>
          </p:cNvPr>
          <p:cNvSpPr/>
          <p:nvPr/>
        </p:nvSpPr>
        <p:spPr bwMode="white">
          <a:xfrm>
            <a:off x="0" y="2006601"/>
            <a:ext cx="6096000" cy="4851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sz="1800"/>
          </a:p>
        </p:txBody>
      </p:sp>
      <p:sp>
        <p:nvSpPr>
          <p:cNvPr id="11" name="Squiggle">
            <a:extLst>
              <a:ext uri="{FF2B5EF4-FFF2-40B4-BE49-F238E27FC236}">
                <a16:creationId xmlns:a16="http://schemas.microsoft.com/office/drawing/2014/main" id="{9A328A6D-FD87-898A-9B1A-71C3E60F33FF}"/>
              </a:ext>
            </a:extLst>
          </p:cNvPr>
          <p:cNvSpPr/>
          <p:nvPr/>
        </p:nvSpPr>
        <p:spPr bwMode="invGray">
          <a:xfrm rot="7815528">
            <a:off x="-837800" y="-132284"/>
            <a:ext cx="9817614" cy="7561373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8EF30D9B-1CE5-162E-5F5B-B41EF638673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2001" y="1700808"/>
            <a:ext cx="11088001" cy="43200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800" baseline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800" baseline="0">
                <a:solidFill>
                  <a:schemeClr val="tx1"/>
                </a:solidFill>
              </a:defRPr>
            </a:lvl2pPr>
            <a:lvl3pPr>
              <a:defRPr sz="1800" baseline="0">
                <a:solidFill>
                  <a:schemeClr val="tx1"/>
                </a:solidFill>
              </a:defRPr>
            </a:lvl3pPr>
            <a:lvl4pPr>
              <a:defRPr sz="1600" baseline="0">
                <a:solidFill>
                  <a:schemeClr val="tx1"/>
                </a:solidFill>
              </a:defRPr>
            </a:lvl4pPr>
            <a:lvl5pPr>
              <a:defRPr sz="1800" baseline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buAutoNum type="alphaLcParenR"/>
              <a:defRPr/>
            </a:lvl8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3757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radient Box">
            <a:extLst>
              <a:ext uri="{FF2B5EF4-FFF2-40B4-BE49-F238E27FC236}">
                <a16:creationId xmlns:a16="http://schemas.microsoft.com/office/drawing/2014/main" id="{5FA2F412-DAB1-79A8-EE6D-856B95DA3CE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2087823"/>
            <a:ext cx="6096000" cy="4770179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pic>
        <p:nvPicPr>
          <p:cNvPr id="9" name="Squiggle">
            <a:extLst>
              <a:ext uri="{FF2B5EF4-FFF2-40B4-BE49-F238E27FC236}">
                <a16:creationId xmlns:a16="http://schemas.microsoft.com/office/drawing/2014/main" id="{47F53373-D50B-883E-FDDA-7108820460D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089" t="12023" r="24259" b="38040"/>
          <a:stretch/>
        </p:blipFill>
        <p:spPr>
          <a:xfrm>
            <a:off x="0" y="2053097"/>
            <a:ext cx="6096000" cy="4770179"/>
          </a:xfrm>
          <a:prstGeom prst="rect">
            <a:avLst/>
          </a:prstGeom>
        </p:spPr>
      </p:pic>
      <p:sp>
        <p:nvSpPr>
          <p:cNvPr id="13" name="Content">
            <a:extLst>
              <a:ext uri="{FF2B5EF4-FFF2-40B4-BE49-F238E27FC236}">
                <a16:creationId xmlns:a16="http://schemas.microsoft.com/office/drawing/2014/main" id="{29AFB3F8-FA85-8CE0-015D-62EB0BF10F3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88000" y="2053095"/>
            <a:ext cx="5040000" cy="39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400"/>
              </a:spcBef>
              <a:spcAft>
                <a:spcPts val="0"/>
              </a:spcAft>
              <a:defRPr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Tx/>
              <a:buNone/>
              <a:defRPr sz="1200"/>
            </a:lvl2pPr>
            <a:lvl3pPr marL="179996" indent="-179996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200"/>
            </a:lvl3pPr>
            <a:lvl4pPr marL="359991" indent="-179996">
              <a:spcBef>
                <a:spcPts val="0"/>
              </a:spcBef>
              <a:spcAft>
                <a:spcPts val="300"/>
              </a:spcAft>
              <a:defRPr sz="1200"/>
            </a:lvl4pPr>
            <a:lvl5pPr>
              <a:spcAft>
                <a:spcPts val="3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DF4F03E-3E76-8B40-7DFE-45514CEB5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700811"/>
            <a:ext cx="8640000" cy="974626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0779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4159" userDrawn="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">
            <a:extLst>
              <a:ext uri="{FF2B5EF4-FFF2-40B4-BE49-F238E27FC236}">
                <a16:creationId xmlns:a16="http://schemas.microsoft.com/office/drawing/2014/main" id="{29AFB3F8-FA85-8CE0-015D-62EB0BF10F3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88000" y="2053095"/>
            <a:ext cx="5040000" cy="39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400"/>
              </a:spcBef>
              <a:spcAft>
                <a:spcPts val="0"/>
              </a:spcAft>
              <a:defRPr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Tx/>
              <a:buNone/>
              <a:defRPr sz="1200">
                <a:solidFill>
                  <a:schemeClr val="tx1"/>
                </a:solidFill>
              </a:defRPr>
            </a:lvl2pPr>
            <a:lvl3pPr marL="179996" indent="-179996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359991" indent="-179996">
              <a:spcBef>
                <a:spcPts val="0"/>
              </a:spcBef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DF4F03E-3E76-8B40-7DFE-45514CEB5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2" y="700811"/>
            <a:ext cx="8639999" cy="974626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7ADB17EC-3535-10B4-EA22-3FF7B2394167}"/>
              </a:ext>
            </a:extLst>
          </p:cNvPr>
          <p:cNvSpPr/>
          <p:nvPr userDrawn="1"/>
        </p:nvSpPr>
        <p:spPr bwMode="invGray">
          <a:xfrm rot="7860000">
            <a:off x="-623711" y="1951770"/>
            <a:ext cx="6944766" cy="5297391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7482898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9" userDrawn="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quiggle">
            <a:extLst>
              <a:ext uri="{FF2B5EF4-FFF2-40B4-BE49-F238E27FC236}">
                <a16:creationId xmlns:a16="http://schemas.microsoft.com/office/drawing/2014/main" id="{EDD39493-F2CF-026A-6F49-50AB1BFEF1DE}"/>
              </a:ext>
            </a:extLst>
          </p:cNvPr>
          <p:cNvSpPr/>
          <p:nvPr userDrawn="1"/>
        </p:nvSpPr>
        <p:spPr bwMode="invGray">
          <a:xfrm rot="7860000">
            <a:off x="-623711" y="1951770"/>
            <a:ext cx="6944766" cy="5297391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C2BE0690-F2BB-4B76-BB0D-557C7721AAB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0" y="2053095"/>
            <a:ext cx="5545200" cy="3960000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1994" indent="-251994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3987" indent="-251994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59308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9" userDrawn="1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B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B4BF50-2D1E-CA40-0FB2-36E1EA6BA1F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3429000"/>
            <a:ext cx="7283937" cy="3429000"/>
          </a:xfrm>
          <a:prstGeom prst="rect">
            <a:avLst/>
          </a:prstGeom>
          <a:gradFill flip="none" rotWithShape="1">
            <a:gsLst>
              <a:gs pos="100000">
                <a:srgbClr val="538FFF"/>
              </a:gs>
              <a:gs pos="0">
                <a:schemeClr val="accent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5DA475-FB71-0BBA-510C-ADB2FD2DA1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069" t="47897" r="25456" b="37789"/>
          <a:stretch/>
        </p:blipFill>
        <p:spPr>
          <a:xfrm>
            <a:off x="0" y="3429000"/>
            <a:ext cx="7283939" cy="3429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E932EFA-8AA8-BF3A-8E90-B96BE7D6C80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910856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9" userDrawn="1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C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22BBFAD-E787-8011-D4CF-33339EB6A037}"/>
              </a:ext>
            </a:extLst>
          </p:cNvPr>
          <p:cNvGrpSpPr/>
          <p:nvPr userDrawn="1"/>
        </p:nvGrpSpPr>
        <p:grpSpPr>
          <a:xfrm>
            <a:off x="1" y="3429000"/>
            <a:ext cx="7283939" cy="3429000"/>
            <a:chOff x="0" y="3429000"/>
            <a:chExt cx="7283939" cy="3429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D016B5D-D24E-9CB9-D617-AD70A2A126D8}"/>
                </a:ext>
              </a:extLst>
            </p:cNvPr>
            <p:cNvSpPr/>
            <p:nvPr/>
          </p:nvSpPr>
          <p:spPr>
            <a:xfrm>
              <a:off x="0" y="3429000"/>
              <a:ext cx="7283938" cy="3429000"/>
            </a:xfrm>
            <a:prstGeom prst="rect">
              <a:avLst/>
            </a:prstGeom>
            <a:gradFill flip="none" rotWithShape="1"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F2AA39B-CCCF-C240-23CB-DE7BB92736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90" t="31180" r="17841" b="39499"/>
            <a:stretch/>
          </p:blipFill>
          <p:spPr>
            <a:xfrm>
              <a:off x="1" y="3429000"/>
              <a:ext cx="7283938" cy="3428999"/>
            </a:xfrm>
            <a:prstGeom prst="rect">
              <a:avLst/>
            </a:prstGeom>
            <a:gradFill>
              <a:gsLst>
                <a:gs pos="100000">
                  <a:schemeClr val="accent4"/>
                </a:gs>
                <a:gs pos="15000">
                  <a:schemeClr val="accent5"/>
                </a:gs>
              </a:gsLst>
              <a:lin ang="18900000" scaled="0"/>
            </a:gradFill>
          </p:spPr>
        </p:pic>
      </p:grp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7998FA82-AE58-DF57-EE9E-73FF8FEAD9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99410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</a:t>
            </a:r>
            <a:br>
              <a:rPr lang="en-GB" noProof="0"/>
            </a:br>
            <a:r>
              <a:rPr lang="en-GB" noProof="0"/>
              <a:t>Master title</a:t>
            </a:r>
            <a:br>
              <a:rPr lang="en-GB" noProof="0"/>
            </a:br>
            <a:r>
              <a:rPr lang="en-GB" noProof="0"/>
              <a:t>style</a:t>
            </a:r>
            <a:endParaRPr lang="de-DE" noProof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41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BB9FD7F-5FBF-985A-0063-937C8E3ACAB9}"/>
              </a:ext>
            </a:extLst>
          </p:cNvPr>
          <p:cNvGrpSpPr/>
          <p:nvPr userDrawn="1"/>
        </p:nvGrpSpPr>
        <p:grpSpPr>
          <a:xfrm>
            <a:off x="0" y="3429000"/>
            <a:ext cx="7288439" cy="3429000"/>
            <a:chOff x="19894" y="7414846"/>
            <a:chExt cx="7288438" cy="3429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01F38A6-A653-4D8B-F6B4-8CC75E37B668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19894" y="7414846"/>
              <a:ext cx="7288437" cy="3429000"/>
            </a:xfrm>
            <a:prstGeom prst="rect">
              <a:avLst/>
            </a:prstGeom>
            <a:gradFill flip="none" rotWithShape="1">
              <a:gsLst>
                <a:gs pos="100000">
                  <a:schemeClr val="accent2"/>
                </a:gs>
                <a:gs pos="1000">
                  <a:schemeClr val="accent6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DF7126E-93D4-E0D7-3AC2-EACA70BF87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2310" t="53061" r="11726" b="7052"/>
            <a:stretch/>
          </p:blipFill>
          <p:spPr>
            <a:xfrm>
              <a:off x="19894" y="7414846"/>
              <a:ext cx="7288438" cy="3429000"/>
            </a:xfrm>
            <a:prstGeom prst="rect">
              <a:avLst/>
            </a:prstGeom>
          </p:spPr>
        </p:pic>
      </p:grp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9D3DA5B8-F575-6DF1-AC3B-8C7584D5B6D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38816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9" userDrawn="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D7B03C3-5872-48EE-C266-2FF14E1A1C68}"/>
              </a:ext>
            </a:extLst>
          </p:cNvPr>
          <p:cNvGrpSpPr/>
          <p:nvPr userDrawn="1"/>
        </p:nvGrpSpPr>
        <p:grpSpPr>
          <a:xfrm>
            <a:off x="0" y="3429000"/>
            <a:ext cx="7288439" cy="3429000"/>
            <a:chOff x="0" y="3429000"/>
            <a:chExt cx="7288438" cy="3429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5038A97-5369-6B5D-5B6A-EB11A293CCF8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1" y="3429000"/>
              <a:ext cx="7288437" cy="3429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DA01EF1-C789-CE8A-1295-17E3F74881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9391" t="46740" r="25927" b="25063"/>
            <a:stretch/>
          </p:blipFill>
          <p:spPr>
            <a:xfrm>
              <a:off x="0" y="3465513"/>
              <a:ext cx="7288438" cy="3392487"/>
            </a:xfrm>
            <a:prstGeom prst="rect">
              <a:avLst/>
            </a:prstGeom>
          </p:spPr>
        </p:pic>
      </p:grp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28112D3A-C423-0B68-D701-2CC0D24291C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540414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9" userDrawn="1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Block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ght Blue Background Box">
            <a:extLst>
              <a:ext uri="{FF2B5EF4-FFF2-40B4-BE49-F238E27FC236}">
                <a16:creationId xmlns:a16="http://schemas.microsoft.com/office/drawing/2014/main" id="{B7DAB3D9-5015-A550-69A8-D68640397954}"/>
              </a:ext>
            </a:extLst>
          </p:cNvPr>
          <p:cNvSpPr/>
          <p:nvPr userDrawn="1"/>
        </p:nvSpPr>
        <p:spPr bwMode="white">
          <a:xfrm>
            <a:off x="6096000" y="2"/>
            <a:ext cx="6096000" cy="6857999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5988"/>
            <a:endParaRPr lang="en-PT" sz="1600" dirty="0">
              <a:solidFill>
                <a:schemeClr val="tx1"/>
              </a:solidFill>
            </a:endParaRPr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E753F8DB-9E85-600E-CE65-6F0B5FAE55C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5880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4" name="Title plus Content">
            <a:extLst>
              <a:ext uri="{FF2B5EF4-FFF2-40B4-BE49-F238E27FC236}">
                <a16:creationId xmlns:a16="http://schemas.microsoft.com/office/drawing/2014/main" id="{862DF7A4-F6DA-E5F4-FDC2-DC9F260060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429668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1994" indent="-251994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3987" indent="-251994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92343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a16="http://schemas.microsoft.com/office/drawing/2014/main" xmlns:a14="http://schemas.microsoft.com/office/drawing/2010/main" xmlns:asvg="http://schemas.microsoft.com/office/drawing/2016/SVG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35" userDrawn="1">
          <p15:clr>
            <a:srgbClr val="FBAE40"/>
          </p15:clr>
        </p15:guide>
        <p15:guide id="6" pos="3523" userDrawn="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ock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ght Blue Background Box">
            <a:extLst>
              <a:ext uri="{FF2B5EF4-FFF2-40B4-BE49-F238E27FC236}">
                <a16:creationId xmlns:a16="http://schemas.microsoft.com/office/drawing/2014/main" id="{62DAFB2D-A6FA-E0E3-2171-2DD3336F39B2}"/>
              </a:ext>
            </a:extLst>
          </p:cNvPr>
          <p:cNvSpPr/>
          <p:nvPr/>
        </p:nvSpPr>
        <p:spPr bwMode="white">
          <a:xfrm>
            <a:off x="0" y="-1"/>
            <a:ext cx="6096000" cy="6857999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5988"/>
            <a:endParaRPr lang="en-PT" sz="1600" dirty="0">
              <a:solidFill>
                <a:schemeClr val="tx1"/>
              </a:solidFill>
            </a:endParaRPr>
          </a:p>
        </p:txBody>
      </p:sp>
      <p:sp>
        <p:nvSpPr>
          <p:cNvPr id="9" name="Content">
            <a:extLst>
              <a:ext uri="{FF2B5EF4-FFF2-40B4-BE49-F238E27FC236}">
                <a16:creationId xmlns:a16="http://schemas.microsoft.com/office/drawing/2014/main" id="{D4D98A6F-CCDA-3034-9A95-2A26056495A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508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Title plus Content">
            <a:extLst>
              <a:ext uri="{FF2B5EF4-FFF2-40B4-BE49-F238E27FC236}">
                <a16:creationId xmlns:a16="http://schemas.microsoft.com/office/drawing/2014/main" id="{F7F8A338-A00D-2699-2172-8897CB3F038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29672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1994" indent="-251994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3987" indent="-251994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3922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a16="http://schemas.microsoft.com/office/drawing/2014/main" xmlns:a14="http://schemas.microsoft.com/office/drawing/2010/main" xmlns:asvg="http://schemas.microsoft.com/office/drawing/2016/SVG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9" userDrawn="1">
          <p15:clr>
            <a:srgbClr val="FBAE40"/>
          </p15:clr>
        </p15:guide>
        <p15:guide id="6" pos="3523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Block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ght Blue Background Box">
            <a:extLst>
              <a:ext uri="{FF2B5EF4-FFF2-40B4-BE49-F238E27FC236}">
                <a16:creationId xmlns:a16="http://schemas.microsoft.com/office/drawing/2014/main" id="{32688E28-A7F8-F719-86CF-44D80A540EE8}"/>
              </a:ext>
            </a:extLst>
          </p:cNvPr>
          <p:cNvSpPr/>
          <p:nvPr/>
        </p:nvSpPr>
        <p:spPr bwMode="white">
          <a:xfrm>
            <a:off x="6096000" y="0"/>
            <a:ext cx="6096000" cy="6857998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5988"/>
            <a:endParaRPr lang="en-PT" sz="1600" dirty="0">
              <a:solidFill>
                <a:schemeClr val="tx1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5B97292-EA86-FEC6-A22B-B5948F7131E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6000" y="0"/>
            <a:ext cx="6096000" cy="6857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Title plus Content">
            <a:extLst>
              <a:ext uri="{FF2B5EF4-FFF2-40B4-BE49-F238E27FC236}">
                <a16:creationId xmlns:a16="http://schemas.microsoft.com/office/drawing/2014/main" id="{AB6C8F20-9432-0223-5EEF-ECC8F9BD8F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429668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1994" indent="-251994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3987" indent="-251994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5327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9" userDrawn="1">
          <p15:clr>
            <a:srgbClr val="FBAE40"/>
          </p15:clr>
        </p15:guide>
        <p15:guide id="6" pos="3523" userDrawn="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ock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ght BLue Background Box">
            <a:extLst>
              <a:ext uri="{FF2B5EF4-FFF2-40B4-BE49-F238E27FC236}">
                <a16:creationId xmlns:a16="http://schemas.microsoft.com/office/drawing/2014/main" id="{62DAFB2D-A6FA-E0E3-2171-2DD3336F39B2}"/>
              </a:ext>
            </a:extLst>
          </p:cNvPr>
          <p:cNvSpPr/>
          <p:nvPr userDrawn="1"/>
        </p:nvSpPr>
        <p:spPr bwMode="white">
          <a:xfrm>
            <a:off x="0" y="-1"/>
            <a:ext cx="6096000" cy="6857998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5988"/>
            <a:endParaRPr lang="en-PT" sz="1600" dirty="0">
              <a:solidFill>
                <a:schemeClr val="tx1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9D1692-EEFD-88EA-AC78-9DA3A4D838A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6096000" cy="6857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Title plus Content">
            <a:extLst>
              <a:ext uri="{FF2B5EF4-FFF2-40B4-BE49-F238E27FC236}">
                <a16:creationId xmlns:a16="http://schemas.microsoft.com/office/drawing/2014/main" id="{C3FF2256-8276-CD87-E590-0FA57F8D987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29672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1994" indent="-251994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3987" indent="-251994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34891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9" userDrawn="1">
          <p15:clr>
            <a:srgbClr val="FBAE40"/>
          </p15:clr>
        </p15:guide>
        <p15:guide id="6" pos="3523" userDrawn="1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lock, Centr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4884C31-EC1F-A70F-FF1B-C8B8710346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Content">
            <a:extLst>
              <a:ext uri="{FF2B5EF4-FFF2-40B4-BE49-F238E27FC236}">
                <a16:creationId xmlns:a16="http://schemas.microsoft.com/office/drawing/2014/main" id="{3D200662-34CE-CF6E-6DAA-5C1324553BB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508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itle plus Content">
            <a:extLst>
              <a:ext uri="{FF2B5EF4-FFF2-40B4-BE49-F238E27FC236}">
                <a16:creationId xmlns:a16="http://schemas.microsoft.com/office/drawing/2014/main" id="{233A3AAD-F3AF-F8C3-E336-494A20B9CF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29678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>
                <a:solidFill>
                  <a:schemeClr val="tx1"/>
                </a:solidFill>
              </a:defRPr>
            </a:lvl4pPr>
            <a:lvl5pPr marL="251994" indent="-251994">
              <a:spcBef>
                <a:spcPts val="12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800" b="0">
                <a:solidFill>
                  <a:schemeClr val="bg1"/>
                </a:solidFill>
                <a:latin typeface="+mn-lt"/>
              </a:defRPr>
            </a:lvl5pPr>
            <a:lvl6pPr marL="503987" indent="-251994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8pPr>
            <a:lvl9pPr>
              <a:defRPr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17294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9" userDrawn="1">
          <p15:clr>
            <a:srgbClr val="FBAE40"/>
          </p15:clr>
        </p15:guide>
        <p15:guide id="6" pos="3523" userDrawn="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lock, Centr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4884C31-EC1F-A70F-FF1B-C8B8710346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Content">
            <a:extLst>
              <a:ext uri="{FF2B5EF4-FFF2-40B4-BE49-F238E27FC236}">
                <a16:creationId xmlns:a16="http://schemas.microsoft.com/office/drawing/2014/main" id="{87DC4C0B-4914-F9BB-BD66-CA2329654CB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5880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430A964F-5F10-6427-5339-C3BF17997CB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0" y="2429678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>
                <a:solidFill>
                  <a:schemeClr val="tx1"/>
                </a:solidFill>
              </a:defRPr>
            </a:lvl4pPr>
            <a:lvl5pPr marL="251994" indent="-251994">
              <a:spcBef>
                <a:spcPts val="12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800" b="0">
                <a:solidFill>
                  <a:schemeClr val="bg1"/>
                </a:solidFill>
                <a:latin typeface="+mn-lt"/>
              </a:defRPr>
            </a:lvl5pPr>
            <a:lvl6pPr marL="503987" indent="-251994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8pPr>
            <a:lvl9pPr>
              <a:defRPr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5007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9" userDrawn="1">
          <p15:clr>
            <a:srgbClr val="FBAE40"/>
          </p15:clr>
        </p15:guide>
        <p15:guide id="6" pos="3523" userDrawn="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Title and Content with Swoo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quiggle">
            <a:extLst>
              <a:ext uri="{FF2B5EF4-FFF2-40B4-BE49-F238E27FC236}">
                <a16:creationId xmlns:a16="http://schemas.microsoft.com/office/drawing/2014/main" id="{00171972-DAD9-4461-D642-9E70587F1676}"/>
              </a:ext>
            </a:extLst>
          </p:cNvPr>
          <p:cNvSpPr/>
          <p:nvPr/>
        </p:nvSpPr>
        <p:spPr>
          <a:xfrm rot="440875">
            <a:off x="-195795" y="260448"/>
            <a:ext cx="12711259" cy="7374027"/>
          </a:xfrm>
          <a:custGeom>
            <a:avLst/>
            <a:gdLst>
              <a:gd name="connsiteX0" fmla="*/ 9701292 w 12711259"/>
              <a:gd name="connsiteY0" fmla="*/ 4999293 h 7374027"/>
              <a:gd name="connsiteX1" fmla="*/ 10349337 w 12711259"/>
              <a:gd name="connsiteY1" fmla="*/ 5865741 h 7374027"/>
              <a:gd name="connsiteX2" fmla="*/ 10354937 w 12711259"/>
              <a:gd name="connsiteY2" fmla="*/ 6113237 h 7374027"/>
              <a:gd name="connsiteX3" fmla="*/ 7871504 w 12711259"/>
              <a:gd name="connsiteY3" fmla="*/ 6434879 h 7374027"/>
              <a:gd name="connsiteX4" fmla="*/ 8130301 w 12711259"/>
              <a:gd name="connsiteY4" fmla="*/ 6165073 h 7374027"/>
              <a:gd name="connsiteX5" fmla="*/ 8586391 w 12711259"/>
              <a:gd name="connsiteY5" fmla="*/ 5725947 h 7374027"/>
              <a:gd name="connsiteX6" fmla="*/ 8542688 w 12711259"/>
              <a:gd name="connsiteY6" fmla="*/ 5767387 h 7374027"/>
              <a:gd name="connsiteX7" fmla="*/ 9701292 w 12711259"/>
              <a:gd name="connsiteY7" fmla="*/ 4999293 h 7374027"/>
              <a:gd name="connsiteX8" fmla="*/ 12556234 w 12711259"/>
              <a:gd name="connsiteY8" fmla="*/ 4605882 h 7374027"/>
              <a:gd name="connsiteX9" fmla="*/ 12711259 w 12711259"/>
              <a:gd name="connsiteY9" fmla="*/ 5808059 h 7374027"/>
              <a:gd name="connsiteX10" fmla="*/ 10948599 w 12711259"/>
              <a:gd name="connsiteY10" fmla="*/ 6036348 h 7374027"/>
              <a:gd name="connsiteX11" fmla="*/ 10995446 w 12711259"/>
              <a:gd name="connsiteY11" fmla="*/ 5971853 h 7374027"/>
              <a:gd name="connsiteX12" fmla="*/ 12509398 w 12711259"/>
              <a:gd name="connsiteY12" fmla="*/ 4619614 h 7374027"/>
              <a:gd name="connsiteX13" fmla="*/ 4089853 w 12711259"/>
              <a:gd name="connsiteY13" fmla="*/ 0 h 7374027"/>
              <a:gd name="connsiteX14" fmla="*/ 4032572 w 12711259"/>
              <a:gd name="connsiteY14" fmla="*/ 208780 h 7374027"/>
              <a:gd name="connsiteX15" fmla="*/ 3110385 w 12711259"/>
              <a:gd name="connsiteY15" fmla="*/ 5050887 h 7374027"/>
              <a:gd name="connsiteX16" fmla="*/ 5214964 w 12711259"/>
              <a:gd name="connsiteY16" fmla="*/ 6484237 h 7374027"/>
              <a:gd name="connsiteX17" fmla="*/ 5130975 w 12711259"/>
              <a:gd name="connsiteY17" fmla="*/ 6789819 h 7374027"/>
              <a:gd name="connsiteX18" fmla="*/ 620243 w 12711259"/>
              <a:gd name="connsiteY18" fmla="*/ 7374027 h 7374027"/>
              <a:gd name="connsiteX19" fmla="*/ 595618 w 12711259"/>
              <a:gd name="connsiteY19" fmla="*/ 7183063 h 7374027"/>
              <a:gd name="connsiteX20" fmla="*/ 643367 w 12711259"/>
              <a:gd name="connsiteY20" fmla="*/ 6815536 h 7374027"/>
              <a:gd name="connsiteX21" fmla="*/ 1874812 w 12711259"/>
              <a:gd name="connsiteY21" fmla="*/ 1239581 h 7374027"/>
              <a:gd name="connsiteX22" fmla="*/ 592446 w 12711259"/>
              <a:gd name="connsiteY22" fmla="*/ 3773236 h 7374027"/>
              <a:gd name="connsiteX23" fmla="*/ 252389 w 12711259"/>
              <a:gd name="connsiteY23" fmla="*/ 4521405 h 7374027"/>
              <a:gd name="connsiteX24" fmla="*/ 0 w 12711259"/>
              <a:gd name="connsiteY24" fmla="*/ 2564185 h 7374027"/>
              <a:gd name="connsiteX25" fmla="*/ 286966 w 12711259"/>
              <a:gd name="connsiteY25" fmla="*/ 2061285 h 7374027"/>
              <a:gd name="connsiteX26" fmla="*/ 1294415 w 12711259"/>
              <a:gd name="connsiteY26" fmla="*/ 424798 h 7374027"/>
              <a:gd name="connsiteX27" fmla="*/ 1340058 w 12711259"/>
              <a:gd name="connsiteY27" fmla="*/ 356138 h 7374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711259" h="7374027">
                <a:moveTo>
                  <a:pt x="9701292" y="4999293"/>
                </a:moveTo>
                <a:cubicBezTo>
                  <a:pt x="10102115" y="4956977"/>
                  <a:pt x="10311719" y="5310803"/>
                  <a:pt x="10349337" y="5865741"/>
                </a:cubicBezTo>
                <a:lnTo>
                  <a:pt x="10354937" y="6113237"/>
                </a:lnTo>
                <a:lnTo>
                  <a:pt x="7871504" y="6434879"/>
                </a:lnTo>
                <a:lnTo>
                  <a:pt x="8130301" y="6165073"/>
                </a:lnTo>
                <a:cubicBezTo>
                  <a:pt x="8279037" y="6015936"/>
                  <a:pt x="8431002" y="5869496"/>
                  <a:pt x="8586391" y="5725947"/>
                </a:cubicBezTo>
                <a:lnTo>
                  <a:pt x="8542688" y="5767387"/>
                </a:lnTo>
                <a:cubicBezTo>
                  <a:pt x="9031123" y="5261858"/>
                  <a:pt x="9414988" y="5029518"/>
                  <a:pt x="9701292" y="4999293"/>
                </a:cubicBezTo>
                <a:close/>
                <a:moveTo>
                  <a:pt x="12556234" y="4605882"/>
                </a:moveTo>
                <a:lnTo>
                  <a:pt x="12711259" y="5808059"/>
                </a:lnTo>
                <a:lnTo>
                  <a:pt x="10948599" y="6036348"/>
                </a:lnTo>
                <a:lnTo>
                  <a:pt x="10995446" y="5971853"/>
                </a:lnTo>
                <a:cubicBezTo>
                  <a:pt x="11423632" y="5393813"/>
                  <a:pt x="11894510" y="4843458"/>
                  <a:pt x="12509398" y="4619614"/>
                </a:cubicBezTo>
                <a:close/>
                <a:moveTo>
                  <a:pt x="4089853" y="0"/>
                </a:moveTo>
                <a:lnTo>
                  <a:pt x="4032572" y="208780"/>
                </a:lnTo>
                <a:cubicBezTo>
                  <a:pt x="3477322" y="2228129"/>
                  <a:pt x="2859788" y="4443395"/>
                  <a:pt x="3110385" y="5050887"/>
                </a:cubicBezTo>
                <a:cubicBezTo>
                  <a:pt x="6202762" y="1120562"/>
                  <a:pt x="6073909" y="3270086"/>
                  <a:pt x="5214964" y="6484237"/>
                </a:cubicBezTo>
                <a:lnTo>
                  <a:pt x="5130975" y="6789819"/>
                </a:lnTo>
                <a:lnTo>
                  <a:pt x="620243" y="7374027"/>
                </a:lnTo>
                <a:lnTo>
                  <a:pt x="595618" y="7183063"/>
                </a:lnTo>
                <a:lnTo>
                  <a:pt x="643367" y="6815536"/>
                </a:lnTo>
                <a:cubicBezTo>
                  <a:pt x="932082" y="4762876"/>
                  <a:pt x="1606054" y="2200633"/>
                  <a:pt x="1874812" y="1239581"/>
                </a:cubicBezTo>
                <a:cubicBezTo>
                  <a:pt x="1415408" y="2068758"/>
                  <a:pt x="993356" y="2915911"/>
                  <a:pt x="592446" y="3773236"/>
                </a:cubicBezTo>
                <a:lnTo>
                  <a:pt x="252389" y="4521405"/>
                </a:lnTo>
                <a:lnTo>
                  <a:pt x="0" y="2564185"/>
                </a:lnTo>
                <a:lnTo>
                  <a:pt x="286966" y="2061285"/>
                </a:lnTo>
                <a:cubicBezTo>
                  <a:pt x="616643" y="1494520"/>
                  <a:pt x="955203" y="944905"/>
                  <a:pt x="1294415" y="424798"/>
                </a:cubicBezTo>
                <a:lnTo>
                  <a:pt x="1340058" y="356138"/>
                </a:ln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117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1800"/>
          </a:p>
        </p:txBody>
      </p:sp>
      <p:sp>
        <p:nvSpPr>
          <p:cNvPr id="3" name="Page Number">
            <a:extLst>
              <a:ext uri="{FF2B5EF4-FFF2-40B4-BE49-F238E27FC236}">
                <a16:creationId xmlns:a16="http://schemas.microsoft.com/office/drawing/2014/main" id="{34F5AC4A-6FD4-AE1B-DE83-4DA75E86F5DC}"/>
              </a:ext>
            </a:extLst>
          </p:cNvPr>
          <p:cNvSpPr txBox="1">
            <a:spLocks/>
          </p:cNvSpPr>
          <p:nvPr/>
        </p:nvSpPr>
        <p:spPr>
          <a:xfrm>
            <a:off x="11233601" y="6525346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Content">
            <a:extLst>
              <a:ext uri="{FF2B5EF4-FFF2-40B4-BE49-F238E27FC236}">
                <a16:creationId xmlns:a16="http://schemas.microsoft.com/office/drawing/2014/main" id="{81404B19-3C29-F557-1857-9D5B937FCD7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5880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itle plus Content">
            <a:extLst>
              <a:ext uri="{FF2B5EF4-FFF2-40B4-BE49-F238E27FC236}">
                <a16:creationId xmlns:a16="http://schemas.microsoft.com/office/drawing/2014/main" id="{45EBC170-48B0-4CF4-F8CC-B91B703AAB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40606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1994" indent="-251994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3987" indent="-251994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25501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p15="http://schemas.microsoft.com/office/powerpoint/2012/main" xmlns:a16="http://schemas.microsoft.com/office/drawing/2014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0" pos="4159" userDrawn="1">
          <p15:clr>
            <a:srgbClr val="FBAE40"/>
          </p15:clr>
        </p15:guide>
        <p15:guide id="11" pos="3523" userDrawn="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Right 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us Content">
            <a:extLst>
              <a:ext uri="{FF2B5EF4-FFF2-40B4-BE49-F238E27FC236}">
                <a16:creationId xmlns:a16="http://schemas.microsoft.com/office/drawing/2014/main" id="{61C9325A-143B-C086-CC26-A49B2A34A1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40606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1994" indent="-251994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3987" indent="-251994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ounded box shadow 15.4cm">
            <a:extLst>
              <a:ext uri="{FF2B5EF4-FFF2-40B4-BE49-F238E27FC236}">
                <a16:creationId xmlns:a16="http://schemas.microsoft.com/office/drawing/2014/main" id="{F9324273-5E02-E384-973C-BEB9B03CD9EB}"/>
              </a:ext>
            </a:extLst>
          </p:cNvPr>
          <p:cNvSpPr>
            <a:spLocks/>
          </p:cNvSpPr>
          <p:nvPr userDrawn="1"/>
        </p:nvSpPr>
        <p:spPr>
          <a:xfrm>
            <a:off x="6096000" y="1701000"/>
            <a:ext cx="5544000" cy="3456000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sz="1800"/>
          </a:p>
        </p:txBody>
      </p:sp>
    </p:spTree>
    <p:extLst>
      <p:ext uri="{BB962C8B-B14F-4D97-AF65-F5344CB8AC3E}">
        <p14:creationId xmlns:p14="http://schemas.microsoft.com/office/powerpoint/2010/main" val="2762336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352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theme" Target="../theme/theme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ags" Target="../tags/tag4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81.xml"/><Relationship Id="rId34" Type="http://schemas.openxmlformats.org/officeDocument/2006/relationships/slideLayout" Target="../slideLayouts/slideLayout94.xml"/><Relationship Id="rId42" Type="http://schemas.openxmlformats.org/officeDocument/2006/relationships/slideLayout" Target="../slideLayouts/slideLayout102.xml"/><Relationship Id="rId47" Type="http://schemas.openxmlformats.org/officeDocument/2006/relationships/slideLayout" Target="../slideLayouts/slideLayout107.xml"/><Relationship Id="rId50" Type="http://schemas.openxmlformats.org/officeDocument/2006/relationships/slideLayout" Target="../slideLayouts/slideLayout110.xml"/><Relationship Id="rId55" Type="http://schemas.openxmlformats.org/officeDocument/2006/relationships/slideLayout" Target="../slideLayouts/slideLayout115.xml"/><Relationship Id="rId63" Type="http://schemas.openxmlformats.org/officeDocument/2006/relationships/tags" Target="../tags/tag12.xml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9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32" Type="http://schemas.openxmlformats.org/officeDocument/2006/relationships/slideLayout" Target="../slideLayouts/slideLayout92.xml"/><Relationship Id="rId37" Type="http://schemas.openxmlformats.org/officeDocument/2006/relationships/slideLayout" Target="../slideLayouts/slideLayout97.xml"/><Relationship Id="rId40" Type="http://schemas.openxmlformats.org/officeDocument/2006/relationships/slideLayout" Target="../slideLayouts/slideLayout100.xml"/><Relationship Id="rId45" Type="http://schemas.openxmlformats.org/officeDocument/2006/relationships/slideLayout" Target="../slideLayouts/slideLayout105.xml"/><Relationship Id="rId53" Type="http://schemas.openxmlformats.org/officeDocument/2006/relationships/slideLayout" Target="../slideLayouts/slideLayout113.xml"/><Relationship Id="rId58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65.xml"/><Relationship Id="rId61" Type="http://schemas.openxmlformats.org/officeDocument/2006/relationships/theme" Target="../theme/theme2.xml"/><Relationship Id="rId1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slideLayout" Target="../slideLayouts/slideLayout90.xml"/><Relationship Id="rId35" Type="http://schemas.openxmlformats.org/officeDocument/2006/relationships/slideLayout" Target="../slideLayouts/slideLayout95.xml"/><Relationship Id="rId43" Type="http://schemas.openxmlformats.org/officeDocument/2006/relationships/slideLayout" Target="../slideLayouts/slideLayout103.xml"/><Relationship Id="rId48" Type="http://schemas.openxmlformats.org/officeDocument/2006/relationships/slideLayout" Target="../slideLayouts/slideLayout108.xml"/><Relationship Id="rId56" Type="http://schemas.openxmlformats.org/officeDocument/2006/relationships/slideLayout" Target="../slideLayouts/slideLayout116.xml"/><Relationship Id="rId64" Type="http://schemas.openxmlformats.org/officeDocument/2006/relationships/tags" Target="../tags/tag13.xml"/><Relationship Id="rId8" Type="http://schemas.openxmlformats.org/officeDocument/2006/relationships/slideLayout" Target="../slideLayouts/slideLayout68.xml"/><Relationship Id="rId51" Type="http://schemas.openxmlformats.org/officeDocument/2006/relationships/slideLayout" Target="../slideLayouts/slideLayout111.xml"/><Relationship Id="rId3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33" Type="http://schemas.openxmlformats.org/officeDocument/2006/relationships/slideLayout" Target="../slideLayouts/slideLayout93.xml"/><Relationship Id="rId38" Type="http://schemas.openxmlformats.org/officeDocument/2006/relationships/slideLayout" Target="../slideLayouts/slideLayout98.xml"/><Relationship Id="rId46" Type="http://schemas.openxmlformats.org/officeDocument/2006/relationships/slideLayout" Target="../slideLayouts/slideLayout106.xml"/><Relationship Id="rId59" Type="http://schemas.openxmlformats.org/officeDocument/2006/relationships/slideLayout" Target="../slideLayouts/slideLayout119.xml"/><Relationship Id="rId20" Type="http://schemas.openxmlformats.org/officeDocument/2006/relationships/slideLayout" Target="../slideLayouts/slideLayout80.xml"/><Relationship Id="rId41" Type="http://schemas.openxmlformats.org/officeDocument/2006/relationships/slideLayout" Target="../slideLayouts/slideLayout101.xml"/><Relationship Id="rId54" Type="http://schemas.openxmlformats.org/officeDocument/2006/relationships/slideLayout" Target="../slideLayouts/slideLayout114.xml"/><Relationship Id="rId62" Type="http://schemas.openxmlformats.org/officeDocument/2006/relationships/tags" Target="../tags/tag11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36" Type="http://schemas.openxmlformats.org/officeDocument/2006/relationships/slideLayout" Target="../slideLayouts/slideLayout96.xml"/><Relationship Id="rId49" Type="http://schemas.openxmlformats.org/officeDocument/2006/relationships/slideLayout" Target="../slideLayouts/slideLayout109.xml"/><Relationship Id="rId57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70.xml"/><Relationship Id="rId31" Type="http://schemas.openxmlformats.org/officeDocument/2006/relationships/slideLayout" Target="../slideLayouts/slideLayout91.xml"/><Relationship Id="rId44" Type="http://schemas.openxmlformats.org/officeDocument/2006/relationships/slideLayout" Target="../slideLayouts/slideLayout104.xml"/><Relationship Id="rId52" Type="http://schemas.openxmlformats.org/officeDocument/2006/relationships/slideLayout" Target="../slideLayouts/slideLayout112.xml"/><Relationship Id="rId60" Type="http://schemas.openxmlformats.org/officeDocument/2006/relationships/slideLayout" Target="../slideLayouts/slideLayout120.xml"/><Relationship Id="rId65" Type="http://schemas.openxmlformats.org/officeDocument/2006/relationships/tags" Target="../tags/tag14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39" Type="http://schemas.openxmlformats.org/officeDocument/2006/relationships/slideLayout" Target="../slideLayouts/slideLayout99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46.xml"/><Relationship Id="rId21" Type="http://schemas.openxmlformats.org/officeDocument/2006/relationships/slideLayout" Target="../slideLayouts/slideLayout141.xml"/><Relationship Id="rId34" Type="http://schemas.openxmlformats.org/officeDocument/2006/relationships/slideLayout" Target="../slideLayouts/slideLayout154.xml"/><Relationship Id="rId42" Type="http://schemas.openxmlformats.org/officeDocument/2006/relationships/slideLayout" Target="../slideLayouts/slideLayout162.xml"/><Relationship Id="rId47" Type="http://schemas.openxmlformats.org/officeDocument/2006/relationships/slideLayout" Target="../slideLayouts/slideLayout167.xml"/><Relationship Id="rId50" Type="http://schemas.openxmlformats.org/officeDocument/2006/relationships/slideLayout" Target="../slideLayouts/slideLayout170.xml"/><Relationship Id="rId55" Type="http://schemas.openxmlformats.org/officeDocument/2006/relationships/slideLayout" Target="../slideLayouts/slideLayout175.xml"/><Relationship Id="rId63" Type="http://schemas.openxmlformats.org/officeDocument/2006/relationships/tags" Target="../tags/tag21.xml"/><Relationship Id="rId7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9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31.xml"/><Relationship Id="rId24" Type="http://schemas.openxmlformats.org/officeDocument/2006/relationships/slideLayout" Target="../slideLayouts/slideLayout144.xml"/><Relationship Id="rId32" Type="http://schemas.openxmlformats.org/officeDocument/2006/relationships/slideLayout" Target="../slideLayouts/slideLayout152.xml"/><Relationship Id="rId37" Type="http://schemas.openxmlformats.org/officeDocument/2006/relationships/slideLayout" Target="../slideLayouts/slideLayout157.xml"/><Relationship Id="rId40" Type="http://schemas.openxmlformats.org/officeDocument/2006/relationships/slideLayout" Target="../slideLayouts/slideLayout160.xml"/><Relationship Id="rId45" Type="http://schemas.openxmlformats.org/officeDocument/2006/relationships/slideLayout" Target="../slideLayouts/slideLayout165.xml"/><Relationship Id="rId53" Type="http://schemas.openxmlformats.org/officeDocument/2006/relationships/slideLayout" Target="../slideLayouts/slideLayout173.xml"/><Relationship Id="rId58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25.xml"/><Relationship Id="rId61" Type="http://schemas.openxmlformats.org/officeDocument/2006/relationships/theme" Target="../theme/theme3.xml"/><Relationship Id="rId19" Type="http://schemas.openxmlformats.org/officeDocument/2006/relationships/slideLayout" Target="../slideLayouts/slideLayout139.xml"/><Relationship Id="rId14" Type="http://schemas.openxmlformats.org/officeDocument/2006/relationships/slideLayout" Target="../slideLayouts/slideLayout134.xml"/><Relationship Id="rId22" Type="http://schemas.openxmlformats.org/officeDocument/2006/relationships/slideLayout" Target="../slideLayouts/slideLayout142.xml"/><Relationship Id="rId27" Type="http://schemas.openxmlformats.org/officeDocument/2006/relationships/slideLayout" Target="../slideLayouts/slideLayout147.xml"/><Relationship Id="rId30" Type="http://schemas.openxmlformats.org/officeDocument/2006/relationships/slideLayout" Target="../slideLayouts/slideLayout150.xml"/><Relationship Id="rId35" Type="http://schemas.openxmlformats.org/officeDocument/2006/relationships/slideLayout" Target="../slideLayouts/slideLayout155.xml"/><Relationship Id="rId43" Type="http://schemas.openxmlformats.org/officeDocument/2006/relationships/slideLayout" Target="../slideLayouts/slideLayout163.xml"/><Relationship Id="rId48" Type="http://schemas.openxmlformats.org/officeDocument/2006/relationships/slideLayout" Target="../slideLayouts/slideLayout168.xml"/><Relationship Id="rId56" Type="http://schemas.openxmlformats.org/officeDocument/2006/relationships/slideLayout" Target="../slideLayouts/slideLayout176.xml"/><Relationship Id="rId64" Type="http://schemas.openxmlformats.org/officeDocument/2006/relationships/tags" Target="../tags/tag22.xml"/><Relationship Id="rId8" Type="http://schemas.openxmlformats.org/officeDocument/2006/relationships/slideLayout" Target="../slideLayouts/slideLayout128.xml"/><Relationship Id="rId51" Type="http://schemas.openxmlformats.org/officeDocument/2006/relationships/slideLayout" Target="../slideLayouts/slideLayout171.xml"/><Relationship Id="rId3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5" Type="http://schemas.openxmlformats.org/officeDocument/2006/relationships/slideLayout" Target="../slideLayouts/slideLayout145.xml"/><Relationship Id="rId33" Type="http://schemas.openxmlformats.org/officeDocument/2006/relationships/slideLayout" Target="../slideLayouts/slideLayout153.xml"/><Relationship Id="rId38" Type="http://schemas.openxmlformats.org/officeDocument/2006/relationships/slideLayout" Target="../slideLayouts/slideLayout158.xml"/><Relationship Id="rId46" Type="http://schemas.openxmlformats.org/officeDocument/2006/relationships/slideLayout" Target="../slideLayouts/slideLayout166.xml"/><Relationship Id="rId59" Type="http://schemas.openxmlformats.org/officeDocument/2006/relationships/slideLayout" Target="../slideLayouts/slideLayout179.xml"/><Relationship Id="rId20" Type="http://schemas.openxmlformats.org/officeDocument/2006/relationships/slideLayout" Target="../slideLayouts/slideLayout140.xml"/><Relationship Id="rId41" Type="http://schemas.openxmlformats.org/officeDocument/2006/relationships/slideLayout" Target="../slideLayouts/slideLayout161.xml"/><Relationship Id="rId54" Type="http://schemas.openxmlformats.org/officeDocument/2006/relationships/slideLayout" Target="../slideLayouts/slideLayout174.xml"/><Relationship Id="rId62" Type="http://schemas.openxmlformats.org/officeDocument/2006/relationships/tags" Target="../tags/tag20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5" Type="http://schemas.openxmlformats.org/officeDocument/2006/relationships/slideLayout" Target="../slideLayouts/slideLayout135.xml"/><Relationship Id="rId23" Type="http://schemas.openxmlformats.org/officeDocument/2006/relationships/slideLayout" Target="../slideLayouts/slideLayout143.xml"/><Relationship Id="rId28" Type="http://schemas.openxmlformats.org/officeDocument/2006/relationships/slideLayout" Target="../slideLayouts/slideLayout148.xml"/><Relationship Id="rId36" Type="http://schemas.openxmlformats.org/officeDocument/2006/relationships/slideLayout" Target="../slideLayouts/slideLayout156.xml"/><Relationship Id="rId49" Type="http://schemas.openxmlformats.org/officeDocument/2006/relationships/slideLayout" Target="../slideLayouts/slideLayout169.xml"/><Relationship Id="rId57" Type="http://schemas.openxmlformats.org/officeDocument/2006/relationships/slideLayout" Target="../slideLayouts/slideLayout177.xml"/><Relationship Id="rId10" Type="http://schemas.openxmlformats.org/officeDocument/2006/relationships/slideLayout" Target="../slideLayouts/slideLayout130.xml"/><Relationship Id="rId31" Type="http://schemas.openxmlformats.org/officeDocument/2006/relationships/slideLayout" Target="../slideLayouts/slideLayout151.xml"/><Relationship Id="rId44" Type="http://schemas.openxmlformats.org/officeDocument/2006/relationships/slideLayout" Target="../slideLayouts/slideLayout164.xml"/><Relationship Id="rId52" Type="http://schemas.openxmlformats.org/officeDocument/2006/relationships/slideLayout" Target="../slideLayouts/slideLayout172.xml"/><Relationship Id="rId60" Type="http://schemas.openxmlformats.org/officeDocument/2006/relationships/slideLayout" Target="../slideLayouts/slideLayout180.xml"/><Relationship Id="rId65" Type="http://schemas.openxmlformats.org/officeDocument/2006/relationships/tags" Target="../tags/tag23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39" Type="http://schemas.openxmlformats.org/officeDocument/2006/relationships/slideLayout" Target="../slideLayouts/slideLayout1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3" name="Additional Element concept" hidden="1">
            <a:extLst>
              <a:ext uri="{FF2B5EF4-FFF2-40B4-BE49-F238E27FC236}">
                <a16:creationId xmlns:a16="http://schemas.microsoft.com/office/drawing/2014/main" id="{3CAB6135-C290-663C-9345-16E108620336}"/>
              </a:ext>
            </a:extLst>
          </p:cNvPr>
          <p:cNvGrpSpPr/>
          <p:nvPr/>
        </p:nvGrpSpPr>
        <p:grpSpPr>
          <a:xfrm>
            <a:off x="609600" y="76200"/>
            <a:ext cx="10972800" cy="6705600"/>
            <a:chOff x="609600" y="76200"/>
            <a:chExt cx="10972800" cy="6705600"/>
          </a:xfrm>
        </p:grpSpPr>
        <p:sp>
          <p:nvSpPr>
            <p:cNvPr id="665" name="Page / Seite Nennfeld" hidden="1">
              <a:extLst>
                <a:ext uri="{FF2B5EF4-FFF2-40B4-BE49-F238E27FC236}">
                  <a16:creationId xmlns:a16="http://schemas.microsoft.com/office/drawing/2014/main" id="{7CD9DD86-11AE-049F-4411-63D077925911}"/>
                </a:ext>
              </a:extLst>
            </p:cNvPr>
            <p:cNvSpPr/>
            <p:nvPr/>
          </p:nvSpPr>
          <p:spPr>
            <a:xfrm>
              <a:off x="10160000" y="6578600"/>
              <a:ext cx="1219200" cy="203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/>
            <a:lstStyle/>
            <a:p>
              <a:pPr algn="r" defTabSz="203200">
                <a:lnSpc>
                  <a:spcPts val="1200"/>
                </a:lnSpc>
                <a:spcAft>
                  <a:spcPts val="400"/>
                </a:spcAft>
              </a:pPr>
              <a:r>
                <a:rPr lang="en-US" sz="900" baseline="0">
                  <a:solidFill>
                    <a:schemeClr val="tx1"/>
                  </a:solidFill>
                </a:rPr>
                <a:t>Page / </a:t>
              </a:r>
              <a:r>
                <a:rPr lang="en-US" sz="900" baseline="0" err="1">
                  <a:solidFill>
                    <a:schemeClr val="tx1"/>
                  </a:solidFill>
                </a:rPr>
                <a:t>Seite</a:t>
              </a:r>
              <a:endParaRPr lang="en-US" sz="900" baseline="0">
                <a:solidFill>
                  <a:schemeClr val="tx1"/>
                </a:solidFill>
              </a:endParaRPr>
            </a:p>
          </p:txBody>
        </p:sp>
        <p:sp>
          <p:nvSpPr>
            <p:cNvPr id="666" name="Confidential Field" hidden="1">
              <a:extLst>
                <a:ext uri="{FF2B5EF4-FFF2-40B4-BE49-F238E27FC236}">
                  <a16:creationId xmlns:a16="http://schemas.microsoft.com/office/drawing/2014/main" id="{ADE8244B-C860-A752-2444-B6AE0E542F15}"/>
                </a:ext>
              </a:extLst>
            </p:cNvPr>
            <p:cNvSpPr/>
            <p:nvPr/>
          </p:nvSpPr>
          <p:spPr>
            <a:xfrm>
              <a:off x="4470400" y="6578600"/>
              <a:ext cx="3251200" cy="203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/>
            <a:lstStyle/>
            <a:p>
              <a:pPr algn="ctr" defTabSz="203200">
                <a:lnSpc>
                  <a:spcPts val="1200"/>
                </a:lnSpc>
                <a:spcAft>
                  <a:spcPts val="400"/>
                </a:spcAft>
              </a:pPr>
              <a:r>
                <a:rPr lang="en-US" sz="900" baseline="0">
                  <a:solidFill>
                    <a:schemeClr val="tx1"/>
                  </a:solidFill>
                </a:rPr>
                <a:t>Confidential</a:t>
              </a:r>
            </a:p>
          </p:txBody>
        </p:sp>
        <p:sp>
          <p:nvSpPr>
            <p:cNvPr id="669" name="Footnote" hidden="1">
              <a:extLst>
                <a:ext uri="{FF2B5EF4-FFF2-40B4-BE49-F238E27FC236}">
                  <a16:creationId xmlns:a16="http://schemas.microsoft.com/office/drawing/2014/main" id="{2F0FFB9C-ECFB-EAB1-4C0A-6FF74BCA4EA9}"/>
                </a:ext>
              </a:extLst>
            </p:cNvPr>
            <p:cNvSpPr txBox="1"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609600" y="6324600"/>
              <a:ext cx="9144000" cy="203200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 anchorCtr="0">
              <a:noAutofit/>
            </a:bodyPr>
            <a:lstStyle/>
            <a:p>
              <a:pPr eaLnBrk="0" hangingPunct="0">
                <a:lnSpc>
                  <a:spcPts val="1200"/>
                </a:lnSpc>
                <a:buClr>
                  <a:schemeClr val="accent2"/>
                </a:buClr>
                <a:buFont typeface="Wingdings" pitchFamily="2" charset="2"/>
                <a:buNone/>
                <a:defRPr/>
              </a:pPr>
              <a:r>
                <a:rPr lang="en-US" altLang="ko-KR" sz="900" kern="0"/>
                <a:t>Footnote/Source: Insert information here</a:t>
              </a:r>
            </a:p>
          </p:txBody>
        </p:sp>
        <p:sp>
          <p:nvSpPr>
            <p:cNvPr id="670" name="Breadrump" hidden="1">
              <a:extLst>
                <a:ext uri="{FF2B5EF4-FFF2-40B4-BE49-F238E27FC236}">
                  <a16:creationId xmlns:a16="http://schemas.microsoft.com/office/drawing/2014/main" id="{3EA69488-F646-6AB9-FF03-F551E769852D}"/>
                </a:ext>
              </a:extLst>
            </p:cNvPr>
            <p:cNvSpPr txBox="1"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609600" y="76200"/>
              <a:ext cx="5486400" cy="203200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 anchorCtr="0">
              <a:noAutofit/>
            </a:bodyPr>
            <a:lstStyle/>
            <a:p>
              <a:pPr eaLnBrk="0" hangingPunct="0">
                <a:lnSpc>
                  <a:spcPts val="1200"/>
                </a:lnSpc>
                <a:buClr>
                  <a:schemeClr val="accent2"/>
                </a:buClr>
                <a:buFont typeface="Wingdings" pitchFamily="2" charset="2"/>
                <a:buNone/>
                <a:defRPr/>
              </a:pPr>
              <a:r>
                <a:rPr lang="en-US" altLang="ko-KR" sz="900" kern="0"/>
                <a:t>Breadcrump/ Navigation</a:t>
              </a:r>
            </a:p>
          </p:txBody>
        </p:sp>
        <p:sp>
          <p:nvSpPr>
            <p:cNvPr id="671" name="Stamp" hidden="1">
              <a:extLst>
                <a:ext uri="{FF2B5EF4-FFF2-40B4-BE49-F238E27FC236}">
                  <a16:creationId xmlns:a16="http://schemas.microsoft.com/office/drawing/2014/main" id="{00FF0B6B-AF42-66E6-E533-D258D7A6F6A6}"/>
                </a:ext>
              </a:extLst>
            </p:cNvPr>
            <p:cNvSpPr/>
            <p:nvPr/>
          </p:nvSpPr>
          <p:spPr>
            <a:xfrm>
              <a:off x="10160000" y="6273800"/>
              <a:ext cx="1422400" cy="304800"/>
            </a:xfrm>
            <a:prstGeom prst="rect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r" defTabSz="203200">
                <a:lnSpc>
                  <a:spcPts val="1200"/>
                </a:lnSpc>
                <a:spcAft>
                  <a:spcPts val="400"/>
                </a:spcAft>
              </a:pPr>
              <a:r>
                <a:rPr lang="en-US" sz="900" baseline="0">
                  <a:solidFill>
                    <a:schemeClr val="tx1"/>
                  </a:solidFill>
                </a:rPr>
                <a:t>Stamp</a:t>
              </a:r>
            </a:p>
          </p:txBody>
        </p:sp>
        <p:sp>
          <p:nvSpPr>
            <p:cNvPr id="672" name="Subtitle" hidden="1">
              <a:extLst>
                <a:ext uri="{FF2B5EF4-FFF2-40B4-BE49-F238E27FC236}">
                  <a16:creationId xmlns:a16="http://schemas.microsoft.com/office/drawing/2014/main" id="{7F921553-F921-5C2D-93C0-0AD5E0633E08}"/>
                </a:ext>
              </a:extLst>
            </p:cNvPr>
            <p:cNvSpPr txBox="1"/>
            <p:nvPr/>
          </p:nvSpPr>
          <p:spPr>
            <a:xfrm>
              <a:off x="609600" y="990600"/>
              <a:ext cx="9144000" cy="609600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ts val="3200"/>
                </a:lnSpc>
                <a:spcBef>
                  <a:spcPts val="0"/>
                </a:spcBef>
                <a:spcAft>
                  <a:spcPts val="1600"/>
                </a:spcAft>
              </a:pPr>
              <a:r>
                <a:rPr lang="en-US" sz="2400" b="0" i="0" u="none" baseline="0">
                  <a:solidFill>
                    <a:schemeClr val="tx1"/>
                  </a:solidFill>
                </a:rPr>
                <a:t>Subtitle</a:t>
              </a:r>
            </a:p>
          </p:txBody>
        </p:sp>
      </p:grpSp>
      <p:grpSp>
        <p:nvGrpSpPr>
          <p:cNvPr id="639" name="Grid Support" hidden="1">
            <a:extLst>
              <a:ext uri="{FF2B5EF4-FFF2-40B4-BE49-F238E27FC236}">
                <a16:creationId xmlns:a16="http://schemas.microsoft.com/office/drawing/2014/main" id="{3FC3C060-626A-8DA3-5705-2484FEC01CB9}"/>
              </a:ext>
            </a:extLst>
          </p:cNvPr>
          <p:cNvGrpSpPr/>
          <p:nvPr/>
        </p:nvGrpSpPr>
        <p:grpSpPr>
          <a:xfrm>
            <a:off x="-355600" y="-330200"/>
            <a:ext cx="12344400" cy="7112000"/>
            <a:chOff x="-355600" y="-330200"/>
            <a:chExt cx="12344400" cy="7112000"/>
          </a:xfrm>
        </p:grpSpPr>
        <p:cxnSp>
          <p:nvCxnSpPr>
            <p:cNvPr id="538" name="Straight Connector 537">
              <a:extLst>
                <a:ext uri="{FF2B5EF4-FFF2-40B4-BE49-F238E27FC236}">
                  <a16:creationId xmlns:a16="http://schemas.microsoft.com/office/drawing/2014/main" id="{0CFD96D7-F7B5-142F-EAE5-D5F9F2FDBA5A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" y="-279400"/>
              <a:ext cx="0" cy="2032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9" name="Straight Connector 538">
              <a:extLst>
                <a:ext uri="{FF2B5EF4-FFF2-40B4-BE49-F238E27FC236}">
                  <a16:creationId xmlns:a16="http://schemas.microsoft.com/office/drawing/2014/main" id="{93331221-5891-F22B-9F08-47C0C7EFF474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0" name="Straight Connector 539">
              <a:extLst>
                <a:ext uri="{FF2B5EF4-FFF2-40B4-BE49-F238E27FC236}">
                  <a16:creationId xmlns:a16="http://schemas.microsoft.com/office/drawing/2014/main" id="{8FEB61DE-45BD-3922-7B29-B2F82EDCF557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1" name="Straight Connector 540">
              <a:extLst>
                <a:ext uri="{FF2B5EF4-FFF2-40B4-BE49-F238E27FC236}">
                  <a16:creationId xmlns:a16="http://schemas.microsoft.com/office/drawing/2014/main" id="{6F040774-B3E2-327F-8228-FABA92804614}"/>
                </a:ext>
              </a:extLst>
            </p:cNvPr>
            <p:cNvCxnSpPr>
              <a:cxnSpLocks/>
            </p:cNvCxnSpPr>
            <p:nvPr/>
          </p:nvCxnSpPr>
          <p:spPr>
            <a:xfrm>
              <a:off x="1219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2" name="Straight Connector 541">
              <a:extLst>
                <a:ext uri="{FF2B5EF4-FFF2-40B4-BE49-F238E27FC236}">
                  <a16:creationId xmlns:a16="http://schemas.microsoft.com/office/drawing/2014/main" id="{1B16B9D2-E67B-9BF5-B72C-0B2E23F28594}"/>
                </a:ext>
              </a:extLst>
            </p:cNvPr>
            <p:cNvCxnSpPr>
              <a:cxnSpLocks/>
            </p:cNvCxnSpPr>
            <p:nvPr/>
          </p:nvCxnSpPr>
          <p:spPr>
            <a:xfrm>
              <a:off x="1422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3" name="Straight Connector 542">
              <a:extLst>
                <a:ext uri="{FF2B5EF4-FFF2-40B4-BE49-F238E27FC236}">
                  <a16:creationId xmlns:a16="http://schemas.microsoft.com/office/drawing/2014/main" id="{66C23595-8A8F-45BD-CF53-7F7710DC2A6C}"/>
                </a:ext>
              </a:extLst>
            </p:cNvPr>
            <p:cNvCxnSpPr>
              <a:cxnSpLocks/>
            </p:cNvCxnSpPr>
            <p:nvPr/>
          </p:nvCxnSpPr>
          <p:spPr>
            <a:xfrm>
              <a:off x="1625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4" name="Straight Connector 543">
              <a:extLst>
                <a:ext uri="{FF2B5EF4-FFF2-40B4-BE49-F238E27FC236}">
                  <a16:creationId xmlns:a16="http://schemas.microsoft.com/office/drawing/2014/main" id="{E2788A33-1A09-CE11-1894-7EC10E5D8178}"/>
                </a:ext>
              </a:extLst>
            </p:cNvPr>
            <p:cNvCxnSpPr>
              <a:cxnSpLocks/>
            </p:cNvCxnSpPr>
            <p:nvPr/>
          </p:nvCxnSpPr>
          <p:spPr>
            <a:xfrm>
              <a:off x="1828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5" name="Straight Connector 544">
              <a:extLst>
                <a:ext uri="{FF2B5EF4-FFF2-40B4-BE49-F238E27FC236}">
                  <a16:creationId xmlns:a16="http://schemas.microsoft.com/office/drawing/2014/main" id="{0E61A20A-A2C4-25A4-1AA7-1102AE8F3091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6" name="Straight Connector 545">
              <a:extLst>
                <a:ext uri="{FF2B5EF4-FFF2-40B4-BE49-F238E27FC236}">
                  <a16:creationId xmlns:a16="http://schemas.microsoft.com/office/drawing/2014/main" id="{7656E82D-EFB5-8016-F7CD-C0A4DB1B004E}"/>
                </a:ext>
              </a:extLst>
            </p:cNvPr>
            <p:cNvCxnSpPr>
              <a:cxnSpLocks/>
            </p:cNvCxnSpPr>
            <p:nvPr/>
          </p:nvCxnSpPr>
          <p:spPr>
            <a:xfrm>
              <a:off x="2235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7" name="Straight Connector 546">
              <a:extLst>
                <a:ext uri="{FF2B5EF4-FFF2-40B4-BE49-F238E27FC236}">
                  <a16:creationId xmlns:a16="http://schemas.microsoft.com/office/drawing/2014/main" id="{293A0ADB-DA88-9B06-BAC5-17329C9EAC90}"/>
                </a:ext>
              </a:extLst>
            </p:cNvPr>
            <p:cNvCxnSpPr>
              <a:cxnSpLocks/>
            </p:cNvCxnSpPr>
            <p:nvPr/>
          </p:nvCxnSpPr>
          <p:spPr>
            <a:xfrm>
              <a:off x="2438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8" name="Straight Connector 547">
              <a:extLst>
                <a:ext uri="{FF2B5EF4-FFF2-40B4-BE49-F238E27FC236}">
                  <a16:creationId xmlns:a16="http://schemas.microsoft.com/office/drawing/2014/main" id="{1F59ACCC-FD64-918D-366A-5542B4BA550C}"/>
                </a:ext>
              </a:extLst>
            </p:cNvPr>
            <p:cNvCxnSpPr>
              <a:cxnSpLocks/>
            </p:cNvCxnSpPr>
            <p:nvPr/>
          </p:nvCxnSpPr>
          <p:spPr>
            <a:xfrm>
              <a:off x="2641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9" name="Straight Connector 548">
              <a:extLst>
                <a:ext uri="{FF2B5EF4-FFF2-40B4-BE49-F238E27FC236}">
                  <a16:creationId xmlns:a16="http://schemas.microsoft.com/office/drawing/2014/main" id="{40ACAE32-50B6-C70C-0F52-5F5380042B5B}"/>
                </a:ext>
              </a:extLst>
            </p:cNvPr>
            <p:cNvCxnSpPr>
              <a:cxnSpLocks/>
            </p:cNvCxnSpPr>
            <p:nvPr/>
          </p:nvCxnSpPr>
          <p:spPr>
            <a:xfrm>
              <a:off x="2844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0" name="Straight Connector 549">
              <a:extLst>
                <a:ext uri="{FF2B5EF4-FFF2-40B4-BE49-F238E27FC236}">
                  <a16:creationId xmlns:a16="http://schemas.microsoft.com/office/drawing/2014/main" id="{A7FF8456-C360-6D94-F32E-794DEB3B6724}"/>
                </a:ext>
              </a:extLst>
            </p:cNvPr>
            <p:cNvCxnSpPr>
              <a:cxnSpLocks/>
            </p:cNvCxnSpPr>
            <p:nvPr/>
          </p:nvCxnSpPr>
          <p:spPr>
            <a:xfrm>
              <a:off x="30480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1" name="Straight Connector 550">
              <a:extLst>
                <a:ext uri="{FF2B5EF4-FFF2-40B4-BE49-F238E27FC236}">
                  <a16:creationId xmlns:a16="http://schemas.microsoft.com/office/drawing/2014/main" id="{06CF12CE-84A0-9E99-1624-696586459355}"/>
                </a:ext>
              </a:extLst>
            </p:cNvPr>
            <p:cNvCxnSpPr>
              <a:cxnSpLocks/>
            </p:cNvCxnSpPr>
            <p:nvPr/>
          </p:nvCxnSpPr>
          <p:spPr>
            <a:xfrm>
              <a:off x="3251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2" name="Straight Connector 551">
              <a:extLst>
                <a:ext uri="{FF2B5EF4-FFF2-40B4-BE49-F238E27FC236}">
                  <a16:creationId xmlns:a16="http://schemas.microsoft.com/office/drawing/2014/main" id="{735CC67A-A18F-8FD4-9970-F34FC5C6F249}"/>
                </a:ext>
              </a:extLst>
            </p:cNvPr>
            <p:cNvCxnSpPr>
              <a:cxnSpLocks/>
            </p:cNvCxnSpPr>
            <p:nvPr/>
          </p:nvCxnSpPr>
          <p:spPr>
            <a:xfrm>
              <a:off x="34544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3" name="Straight Connector 552">
              <a:extLst>
                <a:ext uri="{FF2B5EF4-FFF2-40B4-BE49-F238E27FC236}">
                  <a16:creationId xmlns:a16="http://schemas.microsoft.com/office/drawing/2014/main" id="{F3357DD9-6F01-67C5-B320-67F664F641F4}"/>
                </a:ext>
              </a:extLst>
            </p:cNvPr>
            <p:cNvCxnSpPr>
              <a:cxnSpLocks/>
            </p:cNvCxnSpPr>
            <p:nvPr/>
          </p:nvCxnSpPr>
          <p:spPr>
            <a:xfrm>
              <a:off x="3657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4" name="Straight Connector 553">
              <a:extLst>
                <a:ext uri="{FF2B5EF4-FFF2-40B4-BE49-F238E27FC236}">
                  <a16:creationId xmlns:a16="http://schemas.microsoft.com/office/drawing/2014/main" id="{CA33B3A5-F75F-8D28-BA5B-E41A87A18616}"/>
                </a:ext>
              </a:extLst>
            </p:cNvPr>
            <p:cNvCxnSpPr>
              <a:cxnSpLocks/>
            </p:cNvCxnSpPr>
            <p:nvPr/>
          </p:nvCxnSpPr>
          <p:spPr>
            <a:xfrm>
              <a:off x="3860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5" name="Straight Connector 554">
              <a:extLst>
                <a:ext uri="{FF2B5EF4-FFF2-40B4-BE49-F238E27FC236}">
                  <a16:creationId xmlns:a16="http://schemas.microsoft.com/office/drawing/2014/main" id="{E0D02517-0B0D-B225-B7AF-7BAF2152A122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6" name="Straight Connector 555">
              <a:extLst>
                <a:ext uri="{FF2B5EF4-FFF2-40B4-BE49-F238E27FC236}">
                  <a16:creationId xmlns:a16="http://schemas.microsoft.com/office/drawing/2014/main" id="{8D06E266-C205-032D-0645-E190D504C1A0}"/>
                </a:ext>
              </a:extLst>
            </p:cNvPr>
            <p:cNvCxnSpPr>
              <a:cxnSpLocks/>
            </p:cNvCxnSpPr>
            <p:nvPr/>
          </p:nvCxnSpPr>
          <p:spPr>
            <a:xfrm>
              <a:off x="4267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7" name="Straight Connector 556">
              <a:extLst>
                <a:ext uri="{FF2B5EF4-FFF2-40B4-BE49-F238E27FC236}">
                  <a16:creationId xmlns:a16="http://schemas.microsoft.com/office/drawing/2014/main" id="{9D0657A7-D706-9062-85D2-D025DE8F8C11}"/>
                </a:ext>
              </a:extLst>
            </p:cNvPr>
            <p:cNvCxnSpPr>
              <a:cxnSpLocks/>
            </p:cNvCxnSpPr>
            <p:nvPr/>
          </p:nvCxnSpPr>
          <p:spPr>
            <a:xfrm>
              <a:off x="43688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8" name="Straight Connector 557">
              <a:extLst>
                <a:ext uri="{FF2B5EF4-FFF2-40B4-BE49-F238E27FC236}">
                  <a16:creationId xmlns:a16="http://schemas.microsoft.com/office/drawing/2014/main" id="{4F2F43BA-6928-67CB-C74E-A71348D93D31}"/>
                </a:ext>
              </a:extLst>
            </p:cNvPr>
            <p:cNvCxnSpPr>
              <a:cxnSpLocks/>
            </p:cNvCxnSpPr>
            <p:nvPr/>
          </p:nvCxnSpPr>
          <p:spPr>
            <a:xfrm>
              <a:off x="4673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9" name="Straight Connector 558">
              <a:extLst>
                <a:ext uri="{FF2B5EF4-FFF2-40B4-BE49-F238E27FC236}">
                  <a16:creationId xmlns:a16="http://schemas.microsoft.com/office/drawing/2014/main" id="{D71CA8D1-91D8-ADA9-A053-31B219F8C7FB}"/>
                </a:ext>
              </a:extLst>
            </p:cNvPr>
            <p:cNvCxnSpPr>
              <a:cxnSpLocks/>
            </p:cNvCxnSpPr>
            <p:nvPr/>
          </p:nvCxnSpPr>
          <p:spPr>
            <a:xfrm>
              <a:off x="4876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0" name="Straight Connector 559">
              <a:extLst>
                <a:ext uri="{FF2B5EF4-FFF2-40B4-BE49-F238E27FC236}">
                  <a16:creationId xmlns:a16="http://schemas.microsoft.com/office/drawing/2014/main" id="{9625713D-65A9-F3F2-4B72-605481BC5805}"/>
                </a:ext>
              </a:extLst>
            </p:cNvPr>
            <p:cNvCxnSpPr>
              <a:cxnSpLocks/>
            </p:cNvCxnSpPr>
            <p:nvPr/>
          </p:nvCxnSpPr>
          <p:spPr>
            <a:xfrm>
              <a:off x="5080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1" name="Straight Connector 560">
              <a:extLst>
                <a:ext uri="{FF2B5EF4-FFF2-40B4-BE49-F238E27FC236}">
                  <a16:creationId xmlns:a16="http://schemas.microsoft.com/office/drawing/2014/main" id="{6C0B6D21-1494-A9D8-22A5-38FE6EEE9A2F}"/>
                </a:ext>
              </a:extLst>
            </p:cNvPr>
            <p:cNvCxnSpPr>
              <a:cxnSpLocks/>
            </p:cNvCxnSpPr>
            <p:nvPr/>
          </p:nvCxnSpPr>
          <p:spPr>
            <a:xfrm>
              <a:off x="5283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2" name="Straight Connector 561">
              <a:extLst>
                <a:ext uri="{FF2B5EF4-FFF2-40B4-BE49-F238E27FC236}">
                  <a16:creationId xmlns:a16="http://schemas.microsoft.com/office/drawing/2014/main" id="{4E732CF3-B199-FD77-B7D5-0243115D2CD5}"/>
                </a:ext>
              </a:extLst>
            </p:cNvPr>
            <p:cNvCxnSpPr>
              <a:cxnSpLocks/>
            </p:cNvCxnSpPr>
            <p:nvPr/>
          </p:nvCxnSpPr>
          <p:spPr>
            <a:xfrm>
              <a:off x="5486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3" name="Straight Connector 562">
              <a:extLst>
                <a:ext uri="{FF2B5EF4-FFF2-40B4-BE49-F238E27FC236}">
                  <a16:creationId xmlns:a16="http://schemas.microsoft.com/office/drawing/2014/main" id="{F761F265-49ED-52D2-6332-0E82EAD4C9C5}"/>
                </a:ext>
              </a:extLst>
            </p:cNvPr>
            <p:cNvCxnSpPr>
              <a:cxnSpLocks/>
            </p:cNvCxnSpPr>
            <p:nvPr/>
          </p:nvCxnSpPr>
          <p:spPr>
            <a:xfrm>
              <a:off x="5689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4" name="Straight Connector 563">
              <a:extLst>
                <a:ext uri="{FF2B5EF4-FFF2-40B4-BE49-F238E27FC236}">
                  <a16:creationId xmlns:a16="http://schemas.microsoft.com/office/drawing/2014/main" id="{9D967D66-07B9-A192-15E7-012E074CB12C}"/>
                </a:ext>
              </a:extLst>
            </p:cNvPr>
            <p:cNvCxnSpPr>
              <a:cxnSpLocks/>
            </p:cNvCxnSpPr>
            <p:nvPr/>
          </p:nvCxnSpPr>
          <p:spPr>
            <a:xfrm>
              <a:off x="58928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5" name="Straight Connector 564">
              <a:extLst>
                <a:ext uri="{FF2B5EF4-FFF2-40B4-BE49-F238E27FC236}">
                  <a16:creationId xmlns:a16="http://schemas.microsoft.com/office/drawing/2014/main" id="{BA139CE2-F936-A4C0-5A31-74541FC268BD}"/>
                </a:ext>
              </a:extLst>
            </p:cNvPr>
            <p:cNvCxnSpPr>
              <a:cxnSpLocks/>
            </p:cNvCxnSpPr>
            <p:nvPr/>
          </p:nvCxnSpPr>
          <p:spPr>
            <a:xfrm>
              <a:off x="62992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6" name="Straight Connector 565">
              <a:extLst>
                <a:ext uri="{FF2B5EF4-FFF2-40B4-BE49-F238E27FC236}">
                  <a16:creationId xmlns:a16="http://schemas.microsoft.com/office/drawing/2014/main" id="{A06217BC-A172-8826-5B1A-1815842DFB8C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-330200"/>
              <a:ext cx="0" cy="2540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7" name="Straight Connector 566">
              <a:extLst>
                <a:ext uri="{FF2B5EF4-FFF2-40B4-BE49-F238E27FC236}">
                  <a16:creationId xmlns:a16="http://schemas.microsoft.com/office/drawing/2014/main" id="{4D5739CD-2EFA-DF52-32B2-AA6C209D294C}"/>
                </a:ext>
              </a:extLst>
            </p:cNvPr>
            <p:cNvCxnSpPr>
              <a:cxnSpLocks/>
            </p:cNvCxnSpPr>
            <p:nvPr/>
          </p:nvCxnSpPr>
          <p:spPr>
            <a:xfrm>
              <a:off x="6502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8" name="Straight Connector 567">
              <a:extLst>
                <a:ext uri="{FF2B5EF4-FFF2-40B4-BE49-F238E27FC236}">
                  <a16:creationId xmlns:a16="http://schemas.microsoft.com/office/drawing/2014/main" id="{EA3FD892-82CF-FD02-2480-825A51776510}"/>
                </a:ext>
              </a:extLst>
            </p:cNvPr>
            <p:cNvCxnSpPr>
              <a:cxnSpLocks/>
            </p:cNvCxnSpPr>
            <p:nvPr/>
          </p:nvCxnSpPr>
          <p:spPr>
            <a:xfrm>
              <a:off x="6705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9" name="Straight Connector 568">
              <a:extLst>
                <a:ext uri="{FF2B5EF4-FFF2-40B4-BE49-F238E27FC236}">
                  <a16:creationId xmlns:a16="http://schemas.microsoft.com/office/drawing/2014/main" id="{970C8D3E-5A6F-3A23-4E0C-A52288113B0C}"/>
                </a:ext>
              </a:extLst>
            </p:cNvPr>
            <p:cNvCxnSpPr>
              <a:cxnSpLocks/>
            </p:cNvCxnSpPr>
            <p:nvPr/>
          </p:nvCxnSpPr>
          <p:spPr>
            <a:xfrm>
              <a:off x="6908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0" name="Straight Connector 569">
              <a:extLst>
                <a:ext uri="{FF2B5EF4-FFF2-40B4-BE49-F238E27FC236}">
                  <a16:creationId xmlns:a16="http://schemas.microsoft.com/office/drawing/2014/main" id="{70661C4C-8175-B216-7221-D54CF1B4FCBE}"/>
                </a:ext>
              </a:extLst>
            </p:cNvPr>
            <p:cNvCxnSpPr>
              <a:cxnSpLocks/>
            </p:cNvCxnSpPr>
            <p:nvPr/>
          </p:nvCxnSpPr>
          <p:spPr>
            <a:xfrm>
              <a:off x="7112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1" name="Straight Connector 570">
              <a:extLst>
                <a:ext uri="{FF2B5EF4-FFF2-40B4-BE49-F238E27FC236}">
                  <a16:creationId xmlns:a16="http://schemas.microsoft.com/office/drawing/2014/main" id="{AF1955BD-A748-756E-D7ED-B2D35A39AB27}"/>
                </a:ext>
              </a:extLst>
            </p:cNvPr>
            <p:cNvCxnSpPr>
              <a:cxnSpLocks/>
            </p:cNvCxnSpPr>
            <p:nvPr/>
          </p:nvCxnSpPr>
          <p:spPr>
            <a:xfrm>
              <a:off x="7315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2" name="Straight Connector 571">
              <a:extLst>
                <a:ext uri="{FF2B5EF4-FFF2-40B4-BE49-F238E27FC236}">
                  <a16:creationId xmlns:a16="http://schemas.microsoft.com/office/drawing/2014/main" id="{4574CF1F-0C89-73FD-EC23-7E46DA1F08B5}"/>
                </a:ext>
              </a:extLst>
            </p:cNvPr>
            <p:cNvCxnSpPr>
              <a:cxnSpLocks/>
            </p:cNvCxnSpPr>
            <p:nvPr/>
          </p:nvCxnSpPr>
          <p:spPr>
            <a:xfrm>
              <a:off x="7518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3" name="Straight Connector 572">
              <a:extLst>
                <a:ext uri="{FF2B5EF4-FFF2-40B4-BE49-F238E27FC236}">
                  <a16:creationId xmlns:a16="http://schemas.microsoft.com/office/drawing/2014/main" id="{F131D6EB-5F2C-A5BB-E98C-547D82245228}"/>
                </a:ext>
              </a:extLst>
            </p:cNvPr>
            <p:cNvCxnSpPr>
              <a:cxnSpLocks/>
            </p:cNvCxnSpPr>
            <p:nvPr/>
          </p:nvCxnSpPr>
          <p:spPr>
            <a:xfrm>
              <a:off x="78232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4" name="Straight Connector 573">
              <a:extLst>
                <a:ext uri="{FF2B5EF4-FFF2-40B4-BE49-F238E27FC236}">
                  <a16:creationId xmlns:a16="http://schemas.microsoft.com/office/drawing/2014/main" id="{5247B6BA-7C8A-995A-C56A-489017203A7C}"/>
                </a:ext>
              </a:extLst>
            </p:cNvPr>
            <p:cNvCxnSpPr>
              <a:cxnSpLocks/>
            </p:cNvCxnSpPr>
            <p:nvPr/>
          </p:nvCxnSpPr>
          <p:spPr>
            <a:xfrm>
              <a:off x="7924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5" name="Straight Connector 574">
              <a:extLst>
                <a:ext uri="{FF2B5EF4-FFF2-40B4-BE49-F238E27FC236}">
                  <a16:creationId xmlns:a16="http://schemas.microsoft.com/office/drawing/2014/main" id="{C1D0666E-E92D-2534-33FC-81B3D5B33E9D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6" name="Straight Connector 575">
              <a:extLst>
                <a:ext uri="{FF2B5EF4-FFF2-40B4-BE49-F238E27FC236}">
                  <a16:creationId xmlns:a16="http://schemas.microsoft.com/office/drawing/2014/main" id="{B6E9A317-3C78-6F86-E665-ECD03079B65E}"/>
                </a:ext>
              </a:extLst>
            </p:cNvPr>
            <p:cNvCxnSpPr>
              <a:cxnSpLocks/>
            </p:cNvCxnSpPr>
            <p:nvPr/>
          </p:nvCxnSpPr>
          <p:spPr>
            <a:xfrm>
              <a:off x="8331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7" name="Straight Connector 576">
              <a:extLst>
                <a:ext uri="{FF2B5EF4-FFF2-40B4-BE49-F238E27FC236}">
                  <a16:creationId xmlns:a16="http://schemas.microsoft.com/office/drawing/2014/main" id="{025B8986-9FC6-ADA6-9B02-BEA16E3E3B57}"/>
                </a:ext>
              </a:extLst>
            </p:cNvPr>
            <p:cNvCxnSpPr>
              <a:cxnSpLocks/>
            </p:cNvCxnSpPr>
            <p:nvPr/>
          </p:nvCxnSpPr>
          <p:spPr>
            <a:xfrm>
              <a:off x="8534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8" name="Straight Connector 577">
              <a:extLst>
                <a:ext uri="{FF2B5EF4-FFF2-40B4-BE49-F238E27FC236}">
                  <a16:creationId xmlns:a16="http://schemas.microsoft.com/office/drawing/2014/main" id="{EB9090C4-9FA5-AB1E-1962-BF022AC67E6E}"/>
                </a:ext>
              </a:extLst>
            </p:cNvPr>
            <p:cNvCxnSpPr>
              <a:cxnSpLocks/>
            </p:cNvCxnSpPr>
            <p:nvPr/>
          </p:nvCxnSpPr>
          <p:spPr>
            <a:xfrm>
              <a:off x="87376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9" name="Straight Connector 578">
              <a:extLst>
                <a:ext uri="{FF2B5EF4-FFF2-40B4-BE49-F238E27FC236}">
                  <a16:creationId xmlns:a16="http://schemas.microsoft.com/office/drawing/2014/main" id="{A7DC5E42-5B1E-9A04-F9D0-89C6F53D8279}"/>
                </a:ext>
              </a:extLst>
            </p:cNvPr>
            <p:cNvCxnSpPr>
              <a:cxnSpLocks/>
            </p:cNvCxnSpPr>
            <p:nvPr/>
          </p:nvCxnSpPr>
          <p:spPr>
            <a:xfrm>
              <a:off x="8940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0" name="Straight Connector 579">
              <a:extLst>
                <a:ext uri="{FF2B5EF4-FFF2-40B4-BE49-F238E27FC236}">
                  <a16:creationId xmlns:a16="http://schemas.microsoft.com/office/drawing/2014/main" id="{048F7F9E-8A1E-6060-2317-2EEC3AA72D33}"/>
                </a:ext>
              </a:extLst>
            </p:cNvPr>
            <p:cNvCxnSpPr>
              <a:cxnSpLocks/>
            </p:cNvCxnSpPr>
            <p:nvPr/>
          </p:nvCxnSpPr>
          <p:spPr>
            <a:xfrm>
              <a:off x="91440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1" name="Straight Connector 580">
              <a:extLst>
                <a:ext uri="{FF2B5EF4-FFF2-40B4-BE49-F238E27FC236}">
                  <a16:creationId xmlns:a16="http://schemas.microsoft.com/office/drawing/2014/main" id="{B46B0057-F922-3010-085B-DD33BBCA160B}"/>
                </a:ext>
              </a:extLst>
            </p:cNvPr>
            <p:cNvCxnSpPr>
              <a:cxnSpLocks/>
            </p:cNvCxnSpPr>
            <p:nvPr/>
          </p:nvCxnSpPr>
          <p:spPr>
            <a:xfrm>
              <a:off x="9347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2" name="Straight Connector 581">
              <a:extLst>
                <a:ext uri="{FF2B5EF4-FFF2-40B4-BE49-F238E27FC236}">
                  <a16:creationId xmlns:a16="http://schemas.microsoft.com/office/drawing/2014/main" id="{8FDFD816-2C93-7063-8D10-DF1602BCEA59}"/>
                </a:ext>
              </a:extLst>
            </p:cNvPr>
            <p:cNvCxnSpPr>
              <a:cxnSpLocks/>
            </p:cNvCxnSpPr>
            <p:nvPr/>
          </p:nvCxnSpPr>
          <p:spPr>
            <a:xfrm>
              <a:off x="9550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3" name="Straight Connector 582">
              <a:extLst>
                <a:ext uri="{FF2B5EF4-FFF2-40B4-BE49-F238E27FC236}">
                  <a16:creationId xmlns:a16="http://schemas.microsoft.com/office/drawing/2014/main" id="{D4AD4558-CA13-F998-C692-CFA442B98CF3}"/>
                </a:ext>
              </a:extLst>
            </p:cNvPr>
            <p:cNvCxnSpPr>
              <a:cxnSpLocks/>
            </p:cNvCxnSpPr>
            <p:nvPr/>
          </p:nvCxnSpPr>
          <p:spPr>
            <a:xfrm>
              <a:off x="9753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4" name="Straight Connector 583">
              <a:extLst>
                <a:ext uri="{FF2B5EF4-FFF2-40B4-BE49-F238E27FC236}">
                  <a16:creationId xmlns:a16="http://schemas.microsoft.com/office/drawing/2014/main" id="{EF5866EF-C47C-64B0-EF93-CD27EC61CE92}"/>
                </a:ext>
              </a:extLst>
            </p:cNvPr>
            <p:cNvCxnSpPr>
              <a:cxnSpLocks/>
            </p:cNvCxnSpPr>
            <p:nvPr/>
          </p:nvCxnSpPr>
          <p:spPr>
            <a:xfrm>
              <a:off x="9956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5" name="Straight Connector 584">
              <a:extLst>
                <a:ext uri="{FF2B5EF4-FFF2-40B4-BE49-F238E27FC236}">
                  <a16:creationId xmlns:a16="http://schemas.microsoft.com/office/drawing/2014/main" id="{3A1DF5E2-1545-3752-0600-9F57DF24C442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6" name="Straight Connector 585">
              <a:extLst>
                <a:ext uri="{FF2B5EF4-FFF2-40B4-BE49-F238E27FC236}">
                  <a16:creationId xmlns:a16="http://schemas.microsoft.com/office/drawing/2014/main" id="{5A8813E6-4FFB-5BA0-5D87-EAB56660D152}"/>
                </a:ext>
              </a:extLst>
            </p:cNvPr>
            <p:cNvCxnSpPr>
              <a:cxnSpLocks/>
            </p:cNvCxnSpPr>
            <p:nvPr/>
          </p:nvCxnSpPr>
          <p:spPr>
            <a:xfrm>
              <a:off x="10363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7" name="Straight Connector 586">
              <a:extLst>
                <a:ext uri="{FF2B5EF4-FFF2-40B4-BE49-F238E27FC236}">
                  <a16:creationId xmlns:a16="http://schemas.microsoft.com/office/drawing/2014/main" id="{ACEECC28-0027-CF92-5878-E95F5C531126}"/>
                </a:ext>
              </a:extLst>
            </p:cNvPr>
            <p:cNvCxnSpPr>
              <a:cxnSpLocks/>
            </p:cNvCxnSpPr>
            <p:nvPr/>
          </p:nvCxnSpPr>
          <p:spPr>
            <a:xfrm>
              <a:off x="10566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8" name="Straight Connector 587">
              <a:extLst>
                <a:ext uri="{FF2B5EF4-FFF2-40B4-BE49-F238E27FC236}">
                  <a16:creationId xmlns:a16="http://schemas.microsoft.com/office/drawing/2014/main" id="{CAA365F0-E71C-6AC3-F1A8-D703D8ED2784}"/>
                </a:ext>
              </a:extLst>
            </p:cNvPr>
            <p:cNvCxnSpPr>
              <a:cxnSpLocks/>
            </p:cNvCxnSpPr>
            <p:nvPr/>
          </p:nvCxnSpPr>
          <p:spPr>
            <a:xfrm>
              <a:off x="10769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9" name="Straight Connector 588">
              <a:extLst>
                <a:ext uri="{FF2B5EF4-FFF2-40B4-BE49-F238E27FC236}">
                  <a16:creationId xmlns:a16="http://schemas.microsoft.com/office/drawing/2014/main" id="{53B3DCC7-EE6F-40AC-D98D-A51C8E0217B7}"/>
                </a:ext>
              </a:extLst>
            </p:cNvPr>
            <p:cNvCxnSpPr>
              <a:cxnSpLocks/>
            </p:cNvCxnSpPr>
            <p:nvPr/>
          </p:nvCxnSpPr>
          <p:spPr>
            <a:xfrm>
              <a:off x="10972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0" name="Straight Connector 589">
              <a:extLst>
                <a:ext uri="{FF2B5EF4-FFF2-40B4-BE49-F238E27FC236}">
                  <a16:creationId xmlns:a16="http://schemas.microsoft.com/office/drawing/2014/main" id="{1B780AD5-F3B4-F31D-71D6-2E7ACD15B884}"/>
                </a:ext>
              </a:extLst>
            </p:cNvPr>
            <p:cNvCxnSpPr>
              <a:cxnSpLocks/>
            </p:cNvCxnSpPr>
            <p:nvPr/>
          </p:nvCxnSpPr>
          <p:spPr>
            <a:xfrm>
              <a:off x="11176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1" name="Straight Connector 590">
              <a:extLst>
                <a:ext uri="{FF2B5EF4-FFF2-40B4-BE49-F238E27FC236}">
                  <a16:creationId xmlns:a16="http://schemas.microsoft.com/office/drawing/2014/main" id="{9A8DFB9D-F39D-52EA-3CA5-F90754515AE0}"/>
                </a:ext>
              </a:extLst>
            </p:cNvPr>
            <p:cNvCxnSpPr>
              <a:cxnSpLocks/>
            </p:cNvCxnSpPr>
            <p:nvPr/>
          </p:nvCxnSpPr>
          <p:spPr>
            <a:xfrm>
              <a:off x="11379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2" name="Straight Connector 591">
              <a:extLst>
                <a:ext uri="{FF2B5EF4-FFF2-40B4-BE49-F238E27FC236}">
                  <a16:creationId xmlns:a16="http://schemas.microsoft.com/office/drawing/2014/main" id="{2DC8CB96-FC71-067C-1772-D404679BE65B}"/>
                </a:ext>
              </a:extLst>
            </p:cNvPr>
            <p:cNvCxnSpPr>
              <a:cxnSpLocks/>
            </p:cNvCxnSpPr>
            <p:nvPr/>
          </p:nvCxnSpPr>
          <p:spPr>
            <a:xfrm>
              <a:off x="11582400" y="-279400"/>
              <a:ext cx="0" cy="2032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4" name="Straight Connector 593">
              <a:extLst>
                <a:ext uri="{FF2B5EF4-FFF2-40B4-BE49-F238E27FC236}">
                  <a16:creationId xmlns:a16="http://schemas.microsoft.com/office/drawing/2014/main" id="{CE448E3B-686D-F2E7-BE93-1A348BAA56B2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5" name="Straight Connector 594">
              <a:extLst>
                <a:ext uri="{FF2B5EF4-FFF2-40B4-BE49-F238E27FC236}">
                  <a16:creationId xmlns:a16="http://schemas.microsoft.com/office/drawing/2014/main" id="{02A84058-B93F-7838-ED54-63279616A24A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6" name="Straight Connector 595">
              <a:extLst>
                <a:ext uri="{FF2B5EF4-FFF2-40B4-BE49-F238E27FC236}">
                  <a16:creationId xmlns:a16="http://schemas.microsoft.com/office/drawing/2014/main" id="{8FD5D376-90F3-B3D0-734B-F29027A31096}"/>
                </a:ext>
              </a:extLst>
            </p:cNvPr>
            <p:cNvCxnSpPr>
              <a:cxnSpLocks/>
            </p:cNvCxnSpPr>
            <p:nvPr/>
          </p:nvCxnSpPr>
          <p:spPr>
            <a:xfrm>
              <a:off x="11785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7" name="Straight Connector 596">
              <a:extLst>
                <a:ext uri="{FF2B5EF4-FFF2-40B4-BE49-F238E27FC236}">
                  <a16:creationId xmlns:a16="http://schemas.microsoft.com/office/drawing/2014/main" id="{97E5D813-8AA6-6DA7-A49C-BE58F1B34337}"/>
                </a:ext>
              </a:extLst>
            </p:cNvPr>
            <p:cNvCxnSpPr>
              <a:cxnSpLocks/>
            </p:cNvCxnSpPr>
            <p:nvPr/>
          </p:nvCxnSpPr>
          <p:spPr>
            <a:xfrm>
              <a:off x="11988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8" name="Straight Connector 597">
              <a:extLst>
                <a:ext uri="{FF2B5EF4-FFF2-40B4-BE49-F238E27FC236}">
                  <a16:creationId xmlns:a16="http://schemas.microsoft.com/office/drawing/2014/main" id="{5D236085-90A1-DB70-640B-8E472222F4BA}"/>
                </a:ext>
              </a:extLst>
            </p:cNvPr>
            <p:cNvCxnSpPr>
              <a:cxnSpLocks/>
            </p:cNvCxnSpPr>
            <p:nvPr/>
          </p:nvCxnSpPr>
          <p:spPr>
            <a:xfrm>
              <a:off x="5892800" y="-3302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9" name="Straight Connector 598">
              <a:extLst>
                <a:ext uri="{FF2B5EF4-FFF2-40B4-BE49-F238E27FC236}">
                  <a16:creationId xmlns:a16="http://schemas.microsoft.com/office/drawing/2014/main" id="{398FF3E4-1ED1-8D51-B1F2-66042B748C20}"/>
                </a:ext>
              </a:extLst>
            </p:cNvPr>
            <p:cNvCxnSpPr>
              <a:cxnSpLocks/>
            </p:cNvCxnSpPr>
            <p:nvPr/>
          </p:nvCxnSpPr>
          <p:spPr>
            <a:xfrm>
              <a:off x="6299200" y="-3302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1" name="Straight Connector 600">
              <a:extLst>
                <a:ext uri="{FF2B5EF4-FFF2-40B4-BE49-F238E27FC236}">
                  <a16:creationId xmlns:a16="http://schemas.microsoft.com/office/drawing/2014/main" id="{6095E940-A401-0721-34C9-8A40518FB516}"/>
                </a:ext>
              </a:extLst>
            </p:cNvPr>
            <p:cNvCxnSpPr/>
            <p:nvPr/>
          </p:nvCxnSpPr>
          <p:spPr>
            <a:xfrm>
              <a:off x="-152400" y="279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2" name="Straight Connector 601">
              <a:extLst>
                <a:ext uri="{FF2B5EF4-FFF2-40B4-BE49-F238E27FC236}">
                  <a16:creationId xmlns:a16="http://schemas.microsoft.com/office/drawing/2014/main" id="{6E0C91D8-2789-586B-850C-2B6AF75AB3F1}"/>
                </a:ext>
              </a:extLst>
            </p:cNvPr>
            <p:cNvCxnSpPr/>
            <p:nvPr/>
          </p:nvCxnSpPr>
          <p:spPr>
            <a:xfrm>
              <a:off x="-152400" y="787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3" name="Straight Connector 602">
              <a:extLst>
                <a:ext uri="{FF2B5EF4-FFF2-40B4-BE49-F238E27FC236}">
                  <a16:creationId xmlns:a16="http://schemas.microsoft.com/office/drawing/2014/main" id="{C65BC6F8-6D5E-878E-30A0-8BFB97EB3A35}"/>
                </a:ext>
              </a:extLst>
            </p:cNvPr>
            <p:cNvCxnSpPr/>
            <p:nvPr/>
          </p:nvCxnSpPr>
          <p:spPr>
            <a:xfrm>
              <a:off x="-152400" y="584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4" name="Straight Connector 603">
              <a:extLst>
                <a:ext uri="{FF2B5EF4-FFF2-40B4-BE49-F238E27FC236}">
                  <a16:creationId xmlns:a16="http://schemas.microsoft.com/office/drawing/2014/main" id="{7CD01F2C-CFA1-AF3A-E462-F3DFEB7BA6B5}"/>
                </a:ext>
              </a:extLst>
            </p:cNvPr>
            <p:cNvCxnSpPr/>
            <p:nvPr/>
          </p:nvCxnSpPr>
          <p:spPr>
            <a:xfrm>
              <a:off x="-203200" y="381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5" name="Straight Connector 604">
              <a:extLst>
                <a:ext uri="{FF2B5EF4-FFF2-40B4-BE49-F238E27FC236}">
                  <a16:creationId xmlns:a16="http://schemas.microsoft.com/office/drawing/2014/main" id="{6A28F8B8-71B2-2C78-10FE-14714828B9F8}"/>
                </a:ext>
              </a:extLst>
            </p:cNvPr>
            <p:cNvCxnSpPr/>
            <p:nvPr/>
          </p:nvCxnSpPr>
          <p:spPr>
            <a:xfrm>
              <a:off x="-152400" y="990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6" name="Straight Connector 605">
              <a:extLst>
                <a:ext uri="{FF2B5EF4-FFF2-40B4-BE49-F238E27FC236}">
                  <a16:creationId xmlns:a16="http://schemas.microsoft.com/office/drawing/2014/main" id="{0B0E6785-BFF6-C9ED-0DF6-4D1FC08D9759}"/>
                </a:ext>
              </a:extLst>
            </p:cNvPr>
            <p:cNvCxnSpPr/>
            <p:nvPr/>
          </p:nvCxnSpPr>
          <p:spPr>
            <a:xfrm>
              <a:off x="-152400" y="1193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7" name="Straight Connector 606">
              <a:extLst>
                <a:ext uri="{FF2B5EF4-FFF2-40B4-BE49-F238E27FC236}">
                  <a16:creationId xmlns:a16="http://schemas.microsoft.com/office/drawing/2014/main" id="{2357CEA0-6726-6883-57BD-F7A9866DE9D6}"/>
                </a:ext>
              </a:extLst>
            </p:cNvPr>
            <p:cNvCxnSpPr/>
            <p:nvPr/>
          </p:nvCxnSpPr>
          <p:spPr>
            <a:xfrm>
              <a:off x="-203200" y="1397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8" name="Straight Connector 607">
              <a:extLst>
                <a:ext uri="{FF2B5EF4-FFF2-40B4-BE49-F238E27FC236}">
                  <a16:creationId xmlns:a16="http://schemas.microsoft.com/office/drawing/2014/main" id="{53A14786-7EC7-851B-C041-476BECB84CCF}"/>
                </a:ext>
              </a:extLst>
            </p:cNvPr>
            <p:cNvCxnSpPr/>
            <p:nvPr/>
          </p:nvCxnSpPr>
          <p:spPr>
            <a:xfrm>
              <a:off x="-203200" y="16002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9" name="Straight Connector 608">
              <a:extLst>
                <a:ext uri="{FF2B5EF4-FFF2-40B4-BE49-F238E27FC236}">
                  <a16:creationId xmlns:a16="http://schemas.microsoft.com/office/drawing/2014/main" id="{C0C88909-E77C-DBD7-A2B9-028D5D0044E7}"/>
                </a:ext>
              </a:extLst>
            </p:cNvPr>
            <p:cNvCxnSpPr/>
            <p:nvPr/>
          </p:nvCxnSpPr>
          <p:spPr>
            <a:xfrm>
              <a:off x="-152400" y="1803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0" name="Straight Connector 609">
              <a:extLst>
                <a:ext uri="{FF2B5EF4-FFF2-40B4-BE49-F238E27FC236}">
                  <a16:creationId xmlns:a16="http://schemas.microsoft.com/office/drawing/2014/main" id="{BCAB399B-CF8A-776E-E826-738F3118AE13}"/>
                </a:ext>
              </a:extLst>
            </p:cNvPr>
            <p:cNvCxnSpPr/>
            <p:nvPr/>
          </p:nvCxnSpPr>
          <p:spPr>
            <a:xfrm>
              <a:off x="-152400" y="2006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1" name="Straight Connector 610">
              <a:extLst>
                <a:ext uri="{FF2B5EF4-FFF2-40B4-BE49-F238E27FC236}">
                  <a16:creationId xmlns:a16="http://schemas.microsoft.com/office/drawing/2014/main" id="{868DC6BD-9FBB-1286-9464-F8F2D67D59FC}"/>
                </a:ext>
              </a:extLst>
            </p:cNvPr>
            <p:cNvCxnSpPr/>
            <p:nvPr/>
          </p:nvCxnSpPr>
          <p:spPr>
            <a:xfrm>
              <a:off x="-152400" y="2209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2" name="Straight Connector 611">
              <a:extLst>
                <a:ext uri="{FF2B5EF4-FFF2-40B4-BE49-F238E27FC236}">
                  <a16:creationId xmlns:a16="http://schemas.microsoft.com/office/drawing/2014/main" id="{1E25D695-C1C9-EEEC-CDA3-44D6E5F34E77}"/>
                </a:ext>
              </a:extLst>
            </p:cNvPr>
            <p:cNvCxnSpPr/>
            <p:nvPr/>
          </p:nvCxnSpPr>
          <p:spPr>
            <a:xfrm>
              <a:off x="-152400" y="2413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3" name="Straight Connector 612">
              <a:extLst>
                <a:ext uri="{FF2B5EF4-FFF2-40B4-BE49-F238E27FC236}">
                  <a16:creationId xmlns:a16="http://schemas.microsoft.com/office/drawing/2014/main" id="{D2AA6A8C-8B7C-BEC1-612C-95079A552131}"/>
                </a:ext>
              </a:extLst>
            </p:cNvPr>
            <p:cNvCxnSpPr/>
            <p:nvPr/>
          </p:nvCxnSpPr>
          <p:spPr>
            <a:xfrm>
              <a:off x="-203200" y="26162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4" name="Straight Connector 613">
              <a:extLst>
                <a:ext uri="{FF2B5EF4-FFF2-40B4-BE49-F238E27FC236}">
                  <a16:creationId xmlns:a16="http://schemas.microsoft.com/office/drawing/2014/main" id="{7926D3C4-502F-6EB2-103F-7BB89C56D324}"/>
                </a:ext>
              </a:extLst>
            </p:cNvPr>
            <p:cNvCxnSpPr/>
            <p:nvPr/>
          </p:nvCxnSpPr>
          <p:spPr>
            <a:xfrm>
              <a:off x="-203200" y="28194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5" name="Straight Connector 614">
              <a:extLst>
                <a:ext uri="{FF2B5EF4-FFF2-40B4-BE49-F238E27FC236}">
                  <a16:creationId xmlns:a16="http://schemas.microsoft.com/office/drawing/2014/main" id="{03F5467B-FE3D-54F0-2824-E3089A1941E5}"/>
                </a:ext>
              </a:extLst>
            </p:cNvPr>
            <p:cNvCxnSpPr/>
            <p:nvPr/>
          </p:nvCxnSpPr>
          <p:spPr>
            <a:xfrm>
              <a:off x="-254000" y="30226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6" name="Straight Connector 615">
              <a:extLst>
                <a:ext uri="{FF2B5EF4-FFF2-40B4-BE49-F238E27FC236}">
                  <a16:creationId xmlns:a16="http://schemas.microsoft.com/office/drawing/2014/main" id="{C9639B25-595E-6A2F-66DE-AAEE14F51126}"/>
                </a:ext>
              </a:extLst>
            </p:cNvPr>
            <p:cNvCxnSpPr/>
            <p:nvPr/>
          </p:nvCxnSpPr>
          <p:spPr>
            <a:xfrm>
              <a:off x="-254000" y="32258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7" name="Straight Connector 616">
              <a:extLst>
                <a:ext uri="{FF2B5EF4-FFF2-40B4-BE49-F238E27FC236}">
                  <a16:creationId xmlns:a16="http://schemas.microsoft.com/office/drawing/2014/main" id="{8E825E18-1B62-5390-7448-2A1060D38A41}"/>
                </a:ext>
              </a:extLst>
            </p:cNvPr>
            <p:cNvCxnSpPr/>
            <p:nvPr/>
          </p:nvCxnSpPr>
          <p:spPr>
            <a:xfrm>
              <a:off x="-152400" y="3429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8" name="Straight Connector 617">
              <a:extLst>
                <a:ext uri="{FF2B5EF4-FFF2-40B4-BE49-F238E27FC236}">
                  <a16:creationId xmlns:a16="http://schemas.microsoft.com/office/drawing/2014/main" id="{C47ACFEC-CFA8-DCC6-1DBA-0B99F8F7F19B}"/>
                </a:ext>
              </a:extLst>
            </p:cNvPr>
            <p:cNvCxnSpPr/>
            <p:nvPr/>
          </p:nvCxnSpPr>
          <p:spPr>
            <a:xfrm>
              <a:off x="-152400" y="3632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9" name="Straight Connector 618">
              <a:extLst>
                <a:ext uri="{FF2B5EF4-FFF2-40B4-BE49-F238E27FC236}">
                  <a16:creationId xmlns:a16="http://schemas.microsoft.com/office/drawing/2014/main" id="{EFE363C0-E0EE-758A-D7D7-44C3A27B037B}"/>
                </a:ext>
              </a:extLst>
            </p:cNvPr>
            <p:cNvCxnSpPr/>
            <p:nvPr/>
          </p:nvCxnSpPr>
          <p:spPr>
            <a:xfrm>
              <a:off x="-203200" y="38354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0" name="Straight Connector 619">
              <a:extLst>
                <a:ext uri="{FF2B5EF4-FFF2-40B4-BE49-F238E27FC236}">
                  <a16:creationId xmlns:a16="http://schemas.microsoft.com/office/drawing/2014/main" id="{1256F036-4A4D-1E9E-1A5F-DCC19044319F}"/>
                </a:ext>
              </a:extLst>
            </p:cNvPr>
            <p:cNvCxnSpPr/>
            <p:nvPr/>
          </p:nvCxnSpPr>
          <p:spPr>
            <a:xfrm>
              <a:off x="-203200" y="40386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1" name="Straight Connector 620">
              <a:extLst>
                <a:ext uri="{FF2B5EF4-FFF2-40B4-BE49-F238E27FC236}">
                  <a16:creationId xmlns:a16="http://schemas.microsoft.com/office/drawing/2014/main" id="{C3686432-DD24-E167-2715-EC8E69A77B28}"/>
                </a:ext>
              </a:extLst>
            </p:cNvPr>
            <p:cNvCxnSpPr/>
            <p:nvPr/>
          </p:nvCxnSpPr>
          <p:spPr>
            <a:xfrm>
              <a:off x="-152400" y="4241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2" name="Straight Connector 621">
              <a:extLst>
                <a:ext uri="{FF2B5EF4-FFF2-40B4-BE49-F238E27FC236}">
                  <a16:creationId xmlns:a16="http://schemas.microsoft.com/office/drawing/2014/main" id="{0E0CAE4F-0E99-E72E-1016-56A9182C682B}"/>
                </a:ext>
              </a:extLst>
            </p:cNvPr>
            <p:cNvCxnSpPr/>
            <p:nvPr/>
          </p:nvCxnSpPr>
          <p:spPr>
            <a:xfrm>
              <a:off x="-152400" y="4445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3" name="Straight Connector 622">
              <a:extLst>
                <a:ext uri="{FF2B5EF4-FFF2-40B4-BE49-F238E27FC236}">
                  <a16:creationId xmlns:a16="http://schemas.microsoft.com/office/drawing/2014/main" id="{53336AC3-6DDB-86F9-9A7D-257ACB7989DC}"/>
                </a:ext>
              </a:extLst>
            </p:cNvPr>
            <p:cNvCxnSpPr/>
            <p:nvPr/>
          </p:nvCxnSpPr>
          <p:spPr>
            <a:xfrm>
              <a:off x="-254000" y="46482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4" name="Straight Connector 623">
              <a:extLst>
                <a:ext uri="{FF2B5EF4-FFF2-40B4-BE49-F238E27FC236}">
                  <a16:creationId xmlns:a16="http://schemas.microsoft.com/office/drawing/2014/main" id="{CCB74389-CC92-2002-D402-1DBBBED7A822}"/>
                </a:ext>
              </a:extLst>
            </p:cNvPr>
            <p:cNvCxnSpPr/>
            <p:nvPr/>
          </p:nvCxnSpPr>
          <p:spPr>
            <a:xfrm>
              <a:off x="-254000" y="48514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5" name="Straight Connector 624">
              <a:extLst>
                <a:ext uri="{FF2B5EF4-FFF2-40B4-BE49-F238E27FC236}">
                  <a16:creationId xmlns:a16="http://schemas.microsoft.com/office/drawing/2014/main" id="{9BBA4A47-0FBB-01B7-12C2-8E1753941A49}"/>
                </a:ext>
              </a:extLst>
            </p:cNvPr>
            <p:cNvCxnSpPr/>
            <p:nvPr/>
          </p:nvCxnSpPr>
          <p:spPr>
            <a:xfrm>
              <a:off x="-203200" y="50546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6" name="Straight Connector 625">
              <a:extLst>
                <a:ext uri="{FF2B5EF4-FFF2-40B4-BE49-F238E27FC236}">
                  <a16:creationId xmlns:a16="http://schemas.microsoft.com/office/drawing/2014/main" id="{D004C5B6-F03D-5DE8-E68F-3AE4F793E861}"/>
                </a:ext>
              </a:extLst>
            </p:cNvPr>
            <p:cNvCxnSpPr/>
            <p:nvPr/>
          </p:nvCxnSpPr>
          <p:spPr>
            <a:xfrm>
              <a:off x="-203200" y="52578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7" name="Straight Connector 626">
              <a:extLst>
                <a:ext uri="{FF2B5EF4-FFF2-40B4-BE49-F238E27FC236}">
                  <a16:creationId xmlns:a16="http://schemas.microsoft.com/office/drawing/2014/main" id="{09051E2F-A7DB-6C7D-0E17-A29B16B9BB68}"/>
                </a:ext>
              </a:extLst>
            </p:cNvPr>
            <p:cNvCxnSpPr/>
            <p:nvPr/>
          </p:nvCxnSpPr>
          <p:spPr>
            <a:xfrm>
              <a:off x="-152400" y="5461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8" name="Straight Connector 627">
              <a:extLst>
                <a:ext uri="{FF2B5EF4-FFF2-40B4-BE49-F238E27FC236}">
                  <a16:creationId xmlns:a16="http://schemas.microsoft.com/office/drawing/2014/main" id="{D8ABCA41-6CE5-722F-3067-3FA5B8D5156F}"/>
                </a:ext>
              </a:extLst>
            </p:cNvPr>
            <p:cNvCxnSpPr/>
            <p:nvPr/>
          </p:nvCxnSpPr>
          <p:spPr>
            <a:xfrm>
              <a:off x="-152400" y="5664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9" name="Straight Connector 628">
              <a:extLst>
                <a:ext uri="{FF2B5EF4-FFF2-40B4-BE49-F238E27FC236}">
                  <a16:creationId xmlns:a16="http://schemas.microsoft.com/office/drawing/2014/main" id="{C699AE77-E204-CCB9-6118-A68AC4B33AF0}"/>
                </a:ext>
              </a:extLst>
            </p:cNvPr>
            <p:cNvCxnSpPr/>
            <p:nvPr/>
          </p:nvCxnSpPr>
          <p:spPr>
            <a:xfrm>
              <a:off x="-152400" y="5867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0" name="Straight Connector 629">
              <a:extLst>
                <a:ext uri="{FF2B5EF4-FFF2-40B4-BE49-F238E27FC236}">
                  <a16:creationId xmlns:a16="http://schemas.microsoft.com/office/drawing/2014/main" id="{E943A7C8-4C94-7FCC-1742-27A7BF9F6FD5}"/>
                </a:ext>
              </a:extLst>
            </p:cNvPr>
            <p:cNvCxnSpPr/>
            <p:nvPr/>
          </p:nvCxnSpPr>
          <p:spPr>
            <a:xfrm>
              <a:off x="-152400" y="6070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1" name="Straight Connector 630">
              <a:extLst>
                <a:ext uri="{FF2B5EF4-FFF2-40B4-BE49-F238E27FC236}">
                  <a16:creationId xmlns:a16="http://schemas.microsoft.com/office/drawing/2014/main" id="{50947452-EAD0-668A-3E77-1BFEF1BCD581}"/>
                </a:ext>
              </a:extLst>
            </p:cNvPr>
            <p:cNvCxnSpPr/>
            <p:nvPr/>
          </p:nvCxnSpPr>
          <p:spPr>
            <a:xfrm>
              <a:off x="-203200" y="62738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2" name="Straight Connector 631">
              <a:extLst>
                <a:ext uri="{FF2B5EF4-FFF2-40B4-BE49-F238E27FC236}">
                  <a16:creationId xmlns:a16="http://schemas.microsoft.com/office/drawing/2014/main" id="{DD31B4FC-0FE7-431E-CE7F-ED39AD1508FB}"/>
                </a:ext>
              </a:extLst>
            </p:cNvPr>
            <p:cNvCxnSpPr/>
            <p:nvPr/>
          </p:nvCxnSpPr>
          <p:spPr>
            <a:xfrm>
              <a:off x="-152400" y="6324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3" name="Straight Connector 632">
              <a:extLst>
                <a:ext uri="{FF2B5EF4-FFF2-40B4-BE49-F238E27FC236}">
                  <a16:creationId xmlns:a16="http://schemas.microsoft.com/office/drawing/2014/main" id="{937ADBB6-7460-DD0C-6040-C5E47275159B}"/>
                </a:ext>
              </a:extLst>
            </p:cNvPr>
            <p:cNvCxnSpPr/>
            <p:nvPr/>
          </p:nvCxnSpPr>
          <p:spPr>
            <a:xfrm>
              <a:off x="-152400" y="6527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4" name="Straight Connector 633">
              <a:extLst>
                <a:ext uri="{FF2B5EF4-FFF2-40B4-BE49-F238E27FC236}">
                  <a16:creationId xmlns:a16="http://schemas.microsoft.com/office/drawing/2014/main" id="{CA595009-CD54-1B6B-8D9F-1DA04B8E7841}"/>
                </a:ext>
              </a:extLst>
            </p:cNvPr>
            <p:cNvCxnSpPr/>
            <p:nvPr/>
          </p:nvCxnSpPr>
          <p:spPr>
            <a:xfrm>
              <a:off x="-152400" y="6578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5" name="Straight Connector 634">
              <a:extLst>
                <a:ext uri="{FF2B5EF4-FFF2-40B4-BE49-F238E27FC236}">
                  <a16:creationId xmlns:a16="http://schemas.microsoft.com/office/drawing/2014/main" id="{2B179F18-9FE2-E498-58DC-9875FF47D48B}"/>
                </a:ext>
              </a:extLst>
            </p:cNvPr>
            <p:cNvCxnSpPr/>
            <p:nvPr/>
          </p:nvCxnSpPr>
          <p:spPr>
            <a:xfrm>
              <a:off x="-152400" y="6781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7" name="Straight Connector 636">
              <a:extLst>
                <a:ext uri="{FF2B5EF4-FFF2-40B4-BE49-F238E27FC236}">
                  <a16:creationId xmlns:a16="http://schemas.microsoft.com/office/drawing/2014/main" id="{4970919A-9CD5-C0CC-0267-42EC5559928D}"/>
                </a:ext>
              </a:extLst>
            </p:cNvPr>
            <p:cNvCxnSpPr/>
            <p:nvPr/>
          </p:nvCxnSpPr>
          <p:spPr>
            <a:xfrm>
              <a:off x="-355600" y="38354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8" name="Straight Connector 637">
              <a:extLst>
                <a:ext uri="{FF2B5EF4-FFF2-40B4-BE49-F238E27FC236}">
                  <a16:creationId xmlns:a16="http://schemas.microsoft.com/office/drawing/2014/main" id="{2B963BD9-92DF-FF13-F685-D4599E73BB97}"/>
                </a:ext>
              </a:extLst>
            </p:cNvPr>
            <p:cNvCxnSpPr/>
            <p:nvPr/>
          </p:nvCxnSpPr>
          <p:spPr>
            <a:xfrm>
              <a:off x="-355600" y="40386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0" name="Straight Connector 639">
              <a:extLst>
                <a:ext uri="{FF2B5EF4-FFF2-40B4-BE49-F238E27FC236}">
                  <a16:creationId xmlns:a16="http://schemas.microsoft.com/office/drawing/2014/main" id="{1BC2CFB2-3A2B-4C75-4E77-438BCB0F3F8C}"/>
                </a:ext>
              </a:extLst>
            </p:cNvPr>
            <p:cNvCxnSpPr/>
            <p:nvPr/>
          </p:nvCxnSpPr>
          <p:spPr>
            <a:xfrm>
              <a:off x="-355600" y="62738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1" name="Straight Connector 640">
              <a:extLst>
                <a:ext uri="{FF2B5EF4-FFF2-40B4-BE49-F238E27FC236}">
                  <a16:creationId xmlns:a16="http://schemas.microsoft.com/office/drawing/2014/main" id="{42772E8F-76CC-2C6C-3660-BF3ABB87B872}"/>
                </a:ext>
              </a:extLst>
            </p:cNvPr>
            <p:cNvCxnSpPr/>
            <p:nvPr/>
          </p:nvCxnSpPr>
          <p:spPr>
            <a:xfrm>
              <a:off x="-152400" y="76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2" name="Straight Connector 641">
              <a:extLst>
                <a:ext uri="{FF2B5EF4-FFF2-40B4-BE49-F238E27FC236}">
                  <a16:creationId xmlns:a16="http://schemas.microsoft.com/office/drawing/2014/main" id="{6E3632F8-F2E3-25C9-690B-C73DF4FA8534}"/>
                </a:ext>
              </a:extLst>
            </p:cNvPr>
            <p:cNvCxnSpPr/>
            <p:nvPr/>
          </p:nvCxnSpPr>
          <p:spPr>
            <a:xfrm>
              <a:off x="-355600" y="16002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3" name="Straight Connector 642">
              <a:extLst>
                <a:ext uri="{FF2B5EF4-FFF2-40B4-BE49-F238E27FC236}">
                  <a16:creationId xmlns:a16="http://schemas.microsoft.com/office/drawing/2014/main" id="{A100E2E5-AD1D-B3D4-D7BD-BE18B05825D3}"/>
                </a:ext>
              </a:extLst>
            </p:cNvPr>
            <p:cNvCxnSpPr/>
            <p:nvPr/>
          </p:nvCxnSpPr>
          <p:spPr>
            <a:xfrm>
              <a:off x="-355600" y="1397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4" name="Straight Connector 643">
              <a:extLst>
                <a:ext uri="{FF2B5EF4-FFF2-40B4-BE49-F238E27FC236}">
                  <a16:creationId xmlns:a16="http://schemas.microsoft.com/office/drawing/2014/main" id="{9515AD02-D8EC-1249-38CB-5BEF1ADA3C86}"/>
                </a:ext>
              </a:extLst>
            </p:cNvPr>
            <p:cNvCxnSpPr/>
            <p:nvPr/>
          </p:nvCxnSpPr>
          <p:spPr>
            <a:xfrm>
              <a:off x="-355600" y="381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5" name="Straight Connector 644">
              <a:extLst>
                <a:ext uri="{FF2B5EF4-FFF2-40B4-BE49-F238E27FC236}">
                  <a16:creationId xmlns:a16="http://schemas.microsoft.com/office/drawing/2014/main" id="{2EEECE57-6126-4DDB-25E2-A496262849CC}"/>
                </a:ext>
              </a:extLst>
            </p:cNvPr>
            <p:cNvCxnSpPr/>
            <p:nvPr/>
          </p:nvCxnSpPr>
          <p:spPr>
            <a:xfrm>
              <a:off x="-355600" y="3937000"/>
              <a:ext cx="2540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6" name="Straight Connector 645">
              <a:extLst>
                <a:ext uri="{FF2B5EF4-FFF2-40B4-BE49-F238E27FC236}">
                  <a16:creationId xmlns:a16="http://schemas.microsoft.com/office/drawing/2014/main" id="{A33CD08E-3D5F-E423-EA6C-41CDB09E4946}"/>
                </a:ext>
              </a:extLst>
            </p:cNvPr>
            <p:cNvCxnSpPr/>
            <p:nvPr/>
          </p:nvCxnSpPr>
          <p:spPr>
            <a:xfrm>
              <a:off x="-355600" y="889000"/>
              <a:ext cx="2540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8" name="Straight Connector 647">
              <a:extLst>
                <a:ext uri="{FF2B5EF4-FFF2-40B4-BE49-F238E27FC236}">
                  <a16:creationId xmlns:a16="http://schemas.microsoft.com/office/drawing/2014/main" id="{2F4A3ECA-2825-7826-2925-38F6857BBA9D}"/>
                </a:ext>
              </a:extLst>
            </p:cNvPr>
            <p:cNvCxnSpPr>
              <a:cxnSpLocks/>
            </p:cNvCxnSpPr>
            <p:nvPr/>
          </p:nvCxnSpPr>
          <p:spPr>
            <a:xfrm>
              <a:off x="4470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9" name="Straight Connector 648">
              <a:extLst>
                <a:ext uri="{FF2B5EF4-FFF2-40B4-BE49-F238E27FC236}">
                  <a16:creationId xmlns:a16="http://schemas.microsoft.com/office/drawing/2014/main" id="{FAA54607-9340-DF57-EEED-6A94B812CBD4}"/>
                </a:ext>
              </a:extLst>
            </p:cNvPr>
            <p:cNvCxnSpPr>
              <a:cxnSpLocks/>
            </p:cNvCxnSpPr>
            <p:nvPr/>
          </p:nvCxnSpPr>
          <p:spPr>
            <a:xfrm>
              <a:off x="7721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7" name="Grid Structure 4pt/8px" hidden="1">
            <a:extLst>
              <a:ext uri="{FF2B5EF4-FFF2-40B4-BE49-F238E27FC236}">
                <a16:creationId xmlns:a16="http://schemas.microsoft.com/office/drawing/2014/main" id="{17F06CAB-5E70-ED5E-6F69-21DB28F66836}"/>
              </a:ext>
            </a:extLst>
          </p:cNvPr>
          <p:cNvGrpSpPr/>
          <p:nvPr/>
        </p:nvGrpSpPr>
        <p:grpSpPr>
          <a:xfrm>
            <a:off x="203200" y="76200"/>
            <a:ext cx="11785600" cy="6705600"/>
            <a:chOff x="203200" y="76200"/>
            <a:chExt cx="11785600" cy="6705600"/>
          </a:xfrm>
        </p:grpSpPr>
        <p:cxnSp>
          <p:nvCxnSpPr>
            <p:cNvPr id="479" name="Straight Connector 478">
              <a:extLst>
                <a:ext uri="{FF2B5EF4-FFF2-40B4-BE49-F238E27FC236}">
                  <a16:creationId xmlns:a16="http://schemas.microsoft.com/office/drawing/2014/main" id="{34D2403A-9E8C-5C39-9611-5C6026E28FE0}"/>
                </a:ext>
              </a:extLst>
            </p:cNvPr>
            <p:cNvCxnSpPr/>
            <p:nvPr/>
          </p:nvCxnSpPr>
          <p:spPr>
            <a:xfrm>
              <a:off x="203200" y="76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DB2C721B-E9C3-23FE-71DC-76B704DAC12B}"/>
                </a:ext>
              </a:extLst>
            </p:cNvPr>
            <p:cNvCxnSpPr/>
            <p:nvPr/>
          </p:nvCxnSpPr>
          <p:spPr>
            <a:xfrm>
              <a:off x="203200" y="279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3" name="Straight Connector 352">
              <a:extLst>
                <a:ext uri="{FF2B5EF4-FFF2-40B4-BE49-F238E27FC236}">
                  <a16:creationId xmlns:a16="http://schemas.microsoft.com/office/drawing/2014/main" id="{973E380C-48CF-9EE2-F928-02CDC3F93EE7}"/>
                </a:ext>
              </a:extLst>
            </p:cNvPr>
            <p:cNvCxnSpPr/>
            <p:nvPr/>
          </p:nvCxnSpPr>
          <p:spPr>
            <a:xfrm>
              <a:off x="203200" y="381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4" name="Straight Connector 353">
              <a:extLst>
                <a:ext uri="{FF2B5EF4-FFF2-40B4-BE49-F238E27FC236}">
                  <a16:creationId xmlns:a16="http://schemas.microsoft.com/office/drawing/2014/main" id="{29DCF932-F4D4-35CD-05D5-670C57F85362}"/>
                </a:ext>
              </a:extLst>
            </p:cNvPr>
            <p:cNvCxnSpPr/>
            <p:nvPr/>
          </p:nvCxnSpPr>
          <p:spPr>
            <a:xfrm>
              <a:off x="203200" y="584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5" name="Straight Connector 354">
              <a:extLst>
                <a:ext uri="{FF2B5EF4-FFF2-40B4-BE49-F238E27FC236}">
                  <a16:creationId xmlns:a16="http://schemas.microsoft.com/office/drawing/2014/main" id="{FB2A616B-0A95-F02E-1394-F50ED1398D37}"/>
                </a:ext>
              </a:extLst>
            </p:cNvPr>
            <p:cNvCxnSpPr/>
            <p:nvPr/>
          </p:nvCxnSpPr>
          <p:spPr>
            <a:xfrm>
              <a:off x="203200" y="787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7" name="Straight Connector 356">
              <a:extLst>
                <a:ext uri="{FF2B5EF4-FFF2-40B4-BE49-F238E27FC236}">
                  <a16:creationId xmlns:a16="http://schemas.microsoft.com/office/drawing/2014/main" id="{F9F49583-8544-EB28-23CE-B0CF778FF2BD}"/>
                </a:ext>
              </a:extLst>
            </p:cNvPr>
            <p:cNvCxnSpPr/>
            <p:nvPr/>
          </p:nvCxnSpPr>
          <p:spPr>
            <a:xfrm>
              <a:off x="203200" y="990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8" name="Straight Connector 357">
              <a:extLst>
                <a:ext uri="{FF2B5EF4-FFF2-40B4-BE49-F238E27FC236}">
                  <a16:creationId xmlns:a16="http://schemas.microsoft.com/office/drawing/2014/main" id="{41439CB3-66B0-E8F9-2591-4F7439CF740A}"/>
                </a:ext>
              </a:extLst>
            </p:cNvPr>
            <p:cNvCxnSpPr/>
            <p:nvPr/>
          </p:nvCxnSpPr>
          <p:spPr>
            <a:xfrm>
              <a:off x="203200" y="1193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9" name="Straight Connector 358">
              <a:extLst>
                <a:ext uri="{FF2B5EF4-FFF2-40B4-BE49-F238E27FC236}">
                  <a16:creationId xmlns:a16="http://schemas.microsoft.com/office/drawing/2014/main" id="{1DF61535-212C-C58C-8B29-40971B689923}"/>
                </a:ext>
              </a:extLst>
            </p:cNvPr>
            <p:cNvCxnSpPr/>
            <p:nvPr/>
          </p:nvCxnSpPr>
          <p:spPr>
            <a:xfrm>
              <a:off x="203200" y="1397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0" name="Straight Connector 359">
              <a:extLst>
                <a:ext uri="{FF2B5EF4-FFF2-40B4-BE49-F238E27FC236}">
                  <a16:creationId xmlns:a16="http://schemas.microsoft.com/office/drawing/2014/main" id="{EF6A89FF-8A54-3A74-8A1B-B23FB10155FB}"/>
                </a:ext>
              </a:extLst>
            </p:cNvPr>
            <p:cNvCxnSpPr/>
            <p:nvPr/>
          </p:nvCxnSpPr>
          <p:spPr>
            <a:xfrm>
              <a:off x="203200" y="1600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27BBE4AB-FAD5-25D7-6297-9CF0776FBD98}"/>
                </a:ext>
              </a:extLst>
            </p:cNvPr>
            <p:cNvCxnSpPr/>
            <p:nvPr/>
          </p:nvCxnSpPr>
          <p:spPr>
            <a:xfrm>
              <a:off x="203200" y="1803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3" name="Straight Connector 362">
              <a:extLst>
                <a:ext uri="{FF2B5EF4-FFF2-40B4-BE49-F238E27FC236}">
                  <a16:creationId xmlns:a16="http://schemas.microsoft.com/office/drawing/2014/main" id="{792D44F9-651A-7FA3-BDA6-E43F0D8A9471}"/>
                </a:ext>
              </a:extLst>
            </p:cNvPr>
            <p:cNvCxnSpPr/>
            <p:nvPr/>
          </p:nvCxnSpPr>
          <p:spPr>
            <a:xfrm>
              <a:off x="203200" y="2006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60BA471E-F499-8522-CD48-AFA1D4E83673}"/>
                </a:ext>
              </a:extLst>
            </p:cNvPr>
            <p:cNvCxnSpPr/>
            <p:nvPr/>
          </p:nvCxnSpPr>
          <p:spPr>
            <a:xfrm>
              <a:off x="203200" y="2209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D789B9C6-F8F0-DEFD-64EB-74D0D6BAF9E6}"/>
                </a:ext>
              </a:extLst>
            </p:cNvPr>
            <p:cNvCxnSpPr/>
            <p:nvPr/>
          </p:nvCxnSpPr>
          <p:spPr>
            <a:xfrm>
              <a:off x="203200" y="2413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7" name="Straight Connector 366">
              <a:extLst>
                <a:ext uri="{FF2B5EF4-FFF2-40B4-BE49-F238E27FC236}">
                  <a16:creationId xmlns:a16="http://schemas.microsoft.com/office/drawing/2014/main" id="{9325D9C7-1B5D-D0E6-DF87-C4C8303C6328}"/>
                </a:ext>
              </a:extLst>
            </p:cNvPr>
            <p:cNvCxnSpPr/>
            <p:nvPr/>
          </p:nvCxnSpPr>
          <p:spPr>
            <a:xfrm>
              <a:off x="203200" y="2616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8" name="Straight Connector 367">
              <a:extLst>
                <a:ext uri="{FF2B5EF4-FFF2-40B4-BE49-F238E27FC236}">
                  <a16:creationId xmlns:a16="http://schemas.microsoft.com/office/drawing/2014/main" id="{6F084FA9-52CB-AD53-5B86-1F0C239A027A}"/>
                </a:ext>
              </a:extLst>
            </p:cNvPr>
            <p:cNvCxnSpPr/>
            <p:nvPr/>
          </p:nvCxnSpPr>
          <p:spPr>
            <a:xfrm>
              <a:off x="203200" y="2819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78F30CD4-E679-DC02-8845-4673D27994CC}"/>
                </a:ext>
              </a:extLst>
            </p:cNvPr>
            <p:cNvCxnSpPr/>
            <p:nvPr/>
          </p:nvCxnSpPr>
          <p:spPr>
            <a:xfrm>
              <a:off x="203200" y="3022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2822B735-342B-6378-47A1-E6BF0984D43E}"/>
                </a:ext>
              </a:extLst>
            </p:cNvPr>
            <p:cNvCxnSpPr/>
            <p:nvPr/>
          </p:nvCxnSpPr>
          <p:spPr>
            <a:xfrm>
              <a:off x="203200" y="3225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047EFC56-4DF0-98C3-DBAE-E795B1347AEB}"/>
                </a:ext>
              </a:extLst>
            </p:cNvPr>
            <p:cNvCxnSpPr/>
            <p:nvPr/>
          </p:nvCxnSpPr>
          <p:spPr>
            <a:xfrm>
              <a:off x="203200" y="3429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3" name="Straight Connector 372">
              <a:extLst>
                <a:ext uri="{FF2B5EF4-FFF2-40B4-BE49-F238E27FC236}">
                  <a16:creationId xmlns:a16="http://schemas.microsoft.com/office/drawing/2014/main" id="{22DA30F6-A256-98B0-1B9C-CF0C6DC2BFBA}"/>
                </a:ext>
              </a:extLst>
            </p:cNvPr>
            <p:cNvCxnSpPr/>
            <p:nvPr/>
          </p:nvCxnSpPr>
          <p:spPr>
            <a:xfrm>
              <a:off x="203200" y="3632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4" name="Straight Connector 373">
              <a:extLst>
                <a:ext uri="{FF2B5EF4-FFF2-40B4-BE49-F238E27FC236}">
                  <a16:creationId xmlns:a16="http://schemas.microsoft.com/office/drawing/2014/main" id="{769C8018-70D7-6528-AD45-C9684836981D}"/>
                </a:ext>
              </a:extLst>
            </p:cNvPr>
            <p:cNvCxnSpPr/>
            <p:nvPr/>
          </p:nvCxnSpPr>
          <p:spPr>
            <a:xfrm>
              <a:off x="203200" y="3835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5" name="Straight Connector 374">
              <a:extLst>
                <a:ext uri="{FF2B5EF4-FFF2-40B4-BE49-F238E27FC236}">
                  <a16:creationId xmlns:a16="http://schemas.microsoft.com/office/drawing/2014/main" id="{22B97A86-4C6E-D712-EA4E-0C883F81556E}"/>
                </a:ext>
              </a:extLst>
            </p:cNvPr>
            <p:cNvCxnSpPr/>
            <p:nvPr/>
          </p:nvCxnSpPr>
          <p:spPr>
            <a:xfrm>
              <a:off x="203200" y="4038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Straight Connector 375">
              <a:extLst>
                <a:ext uri="{FF2B5EF4-FFF2-40B4-BE49-F238E27FC236}">
                  <a16:creationId xmlns:a16="http://schemas.microsoft.com/office/drawing/2014/main" id="{9AB33D42-8F07-D766-B1B1-ED59E94B8B39}"/>
                </a:ext>
              </a:extLst>
            </p:cNvPr>
            <p:cNvCxnSpPr/>
            <p:nvPr/>
          </p:nvCxnSpPr>
          <p:spPr>
            <a:xfrm>
              <a:off x="203200" y="4241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7" name="Straight Connector 376">
              <a:extLst>
                <a:ext uri="{FF2B5EF4-FFF2-40B4-BE49-F238E27FC236}">
                  <a16:creationId xmlns:a16="http://schemas.microsoft.com/office/drawing/2014/main" id="{33B8ADB1-5989-ECCE-B214-C609E488B875}"/>
                </a:ext>
              </a:extLst>
            </p:cNvPr>
            <p:cNvCxnSpPr/>
            <p:nvPr/>
          </p:nvCxnSpPr>
          <p:spPr>
            <a:xfrm>
              <a:off x="203200" y="4445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8" name="Straight Connector 377">
              <a:extLst>
                <a:ext uri="{FF2B5EF4-FFF2-40B4-BE49-F238E27FC236}">
                  <a16:creationId xmlns:a16="http://schemas.microsoft.com/office/drawing/2014/main" id="{73647A78-2465-BE80-4CB2-11438AD4FED6}"/>
                </a:ext>
              </a:extLst>
            </p:cNvPr>
            <p:cNvCxnSpPr/>
            <p:nvPr/>
          </p:nvCxnSpPr>
          <p:spPr>
            <a:xfrm>
              <a:off x="203200" y="4648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9" name="Straight Connector 378">
              <a:extLst>
                <a:ext uri="{FF2B5EF4-FFF2-40B4-BE49-F238E27FC236}">
                  <a16:creationId xmlns:a16="http://schemas.microsoft.com/office/drawing/2014/main" id="{A2477A41-ADB5-CED9-4A7B-D346C6AD359D}"/>
                </a:ext>
              </a:extLst>
            </p:cNvPr>
            <p:cNvCxnSpPr/>
            <p:nvPr/>
          </p:nvCxnSpPr>
          <p:spPr>
            <a:xfrm>
              <a:off x="203200" y="4851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0" name="Straight Connector 379">
              <a:extLst>
                <a:ext uri="{FF2B5EF4-FFF2-40B4-BE49-F238E27FC236}">
                  <a16:creationId xmlns:a16="http://schemas.microsoft.com/office/drawing/2014/main" id="{242F2E7F-9FD7-109D-37C7-F851609A5320}"/>
                </a:ext>
              </a:extLst>
            </p:cNvPr>
            <p:cNvCxnSpPr/>
            <p:nvPr/>
          </p:nvCxnSpPr>
          <p:spPr>
            <a:xfrm>
              <a:off x="203200" y="5054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3F6DC466-B938-9EDF-E341-74FA121D5179}"/>
                </a:ext>
              </a:extLst>
            </p:cNvPr>
            <p:cNvCxnSpPr/>
            <p:nvPr/>
          </p:nvCxnSpPr>
          <p:spPr>
            <a:xfrm>
              <a:off x="203200" y="5257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Straight Connector 396">
              <a:extLst>
                <a:ext uri="{FF2B5EF4-FFF2-40B4-BE49-F238E27FC236}">
                  <a16:creationId xmlns:a16="http://schemas.microsoft.com/office/drawing/2014/main" id="{2673C885-1424-6CBF-6BD6-6CAC4F06E93B}"/>
                </a:ext>
              </a:extLst>
            </p:cNvPr>
            <p:cNvCxnSpPr/>
            <p:nvPr/>
          </p:nvCxnSpPr>
          <p:spPr>
            <a:xfrm>
              <a:off x="203200" y="5461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8" name="Straight Connector 397">
              <a:extLst>
                <a:ext uri="{FF2B5EF4-FFF2-40B4-BE49-F238E27FC236}">
                  <a16:creationId xmlns:a16="http://schemas.microsoft.com/office/drawing/2014/main" id="{ABBDB58E-425F-B64B-DC02-69BAAD5537FA}"/>
                </a:ext>
              </a:extLst>
            </p:cNvPr>
            <p:cNvCxnSpPr/>
            <p:nvPr/>
          </p:nvCxnSpPr>
          <p:spPr>
            <a:xfrm>
              <a:off x="203200" y="5664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FBC55815-9925-C582-5129-ADDA959FF884}"/>
                </a:ext>
              </a:extLst>
            </p:cNvPr>
            <p:cNvCxnSpPr/>
            <p:nvPr/>
          </p:nvCxnSpPr>
          <p:spPr>
            <a:xfrm>
              <a:off x="203200" y="5867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5" name="Straight Connector 414">
              <a:extLst>
                <a:ext uri="{FF2B5EF4-FFF2-40B4-BE49-F238E27FC236}">
                  <a16:creationId xmlns:a16="http://schemas.microsoft.com/office/drawing/2014/main" id="{1FFA8E8D-9DDC-4AE6-3E6E-E068D354B41A}"/>
                </a:ext>
              </a:extLst>
            </p:cNvPr>
            <p:cNvCxnSpPr/>
            <p:nvPr/>
          </p:nvCxnSpPr>
          <p:spPr>
            <a:xfrm>
              <a:off x="203200" y="6070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3" name="Straight Connector 432">
              <a:extLst>
                <a:ext uri="{FF2B5EF4-FFF2-40B4-BE49-F238E27FC236}">
                  <a16:creationId xmlns:a16="http://schemas.microsoft.com/office/drawing/2014/main" id="{6C6198D9-BB30-B546-0FD7-708F6CFD4E05}"/>
                </a:ext>
              </a:extLst>
            </p:cNvPr>
            <p:cNvCxnSpPr/>
            <p:nvPr/>
          </p:nvCxnSpPr>
          <p:spPr>
            <a:xfrm>
              <a:off x="203200" y="6273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4" name="Straight Connector 433">
              <a:extLst>
                <a:ext uri="{FF2B5EF4-FFF2-40B4-BE49-F238E27FC236}">
                  <a16:creationId xmlns:a16="http://schemas.microsoft.com/office/drawing/2014/main" id="{83AC2CC8-37DD-6D32-0FC0-7E8185FF308E}"/>
                </a:ext>
              </a:extLst>
            </p:cNvPr>
            <p:cNvCxnSpPr/>
            <p:nvPr/>
          </p:nvCxnSpPr>
          <p:spPr>
            <a:xfrm>
              <a:off x="203200" y="6324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5" name="Straight Connector 434">
              <a:extLst>
                <a:ext uri="{FF2B5EF4-FFF2-40B4-BE49-F238E27FC236}">
                  <a16:creationId xmlns:a16="http://schemas.microsoft.com/office/drawing/2014/main" id="{C76C1BBB-1155-6BCB-A830-6FC97BF80614}"/>
                </a:ext>
              </a:extLst>
            </p:cNvPr>
            <p:cNvCxnSpPr/>
            <p:nvPr/>
          </p:nvCxnSpPr>
          <p:spPr>
            <a:xfrm>
              <a:off x="203200" y="6527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6" name="Straight Connector 435">
              <a:extLst>
                <a:ext uri="{FF2B5EF4-FFF2-40B4-BE49-F238E27FC236}">
                  <a16:creationId xmlns:a16="http://schemas.microsoft.com/office/drawing/2014/main" id="{D7FF3F20-114F-31D4-0B8D-6A8C8084C69B}"/>
                </a:ext>
              </a:extLst>
            </p:cNvPr>
            <p:cNvCxnSpPr/>
            <p:nvPr/>
          </p:nvCxnSpPr>
          <p:spPr>
            <a:xfrm>
              <a:off x="203200" y="6578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7" name="Straight Connector 436">
              <a:extLst>
                <a:ext uri="{FF2B5EF4-FFF2-40B4-BE49-F238E27FC236}">
                  <a16:creationId xmlns:a16="http://schemas.microsoft.com/office/drawing/2014/main" id="{3C119390-FC50-2B5E-E8CC-904165BC0158}"/>
                </a:ext>
              </a:extLst>
            </p:cNvPr>
            <p:cNvCxnSpPr/>
            <p:nvPr/>
          </p:nvCxnSpPr>
          <p:spPr>
            <a:xfrm>
              <a:off x="203200" y="6781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8" name="Straight Connector 437">
              <a:extLst>
                <a:ext uri="{FF2B5EF4-FFF2-40B4-BE49-F238E27FC236}">
                  <a16:creationId xmlns:a16="http://schemas.microsoft.com/office/drawing/2014/main" id="{F1FD15E1-63FC-CDC5-3B2D-4779E73850D6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4" name="Straight Connector 443">
              <a:extLst>
                <a:ext uri="{FF2B5EF4-FFF2-40B4-BE49-F238E27FC236}">
                  <a16:creationId xmlns:a16="http://schemas.microsoft.com/office/drawing/2014/main" id="{6D4C5821-B091-7194-C6C7-7C279C06B58A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0" name="Straight Connector 479">
              <a:extLst>
                <a:ext uri="{FF2B5EF4-FFF2-40B4-BE49-F238E27FC236}">
                  <a16:creationId xmlns:a16="http://schemas.microsoft.com/office/drawing/2014/main" id="{FBE23AC3-99BE-3FF2-67F3-681E6E54976F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1" name="Straight Connector 480">
              <a:extLst>
                <a:ext uri="{FF2B5EF4-FFF2-40B4-BE49-F238E27FC236}">
                  <a16:creationId xmlns:a16="http://schemas.microsoft.com/office/drawing/2014/main" id="{B92814F5-800B-7D26-DC1A-128AB3465438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2" name="Straight Connector 481">
              <a:extLst>
                <a:ext uri="{FF2B5EF4-FFF2-40B4-BE49-F238E27FC236}">
                  <a16:creationId xmlns:a16="http://schemas.microsoft.com/office/drawing/2014/main" id="{3094ABCC-D198-1C19-F99C-A49242D8E61D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3" name="Straight Connector 482">
              <a:extLst>
                <a:ext uri="{FF2B5EF4-FFF2-40B4-BE49-F238E27FC236}">
                  <a16:creationId xmlns:a16="http://schemas.microsoft.com/office/drawing/2014/main" id="{4594A92A-CFD7-9B15-3E05-F6D3FC1329D2}"/>
                </a:ext>
              </a:extLst>
            </p:cNvPr>
            <p:cNvCxnSpPr>
              <a:cxnSpLocks/>
            </p:cNvCxnSpPr>
            <p:nvPr/>
          </p:nvCxnSpPr>
          <p:spPr>
            <a:xfrm>
              <a:off x="1219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4" name="Straight Connector 483">
              <a:extLst>
                <a:ext uri="{FF2B5EF4-FFF2-40B4-BE49-F238E27FC236}">
                  <a16:creationId xmlns:a16="http://schemas.microsoft.com/office/drawing/2014/main" id="{699B5588-6A21-A6DC-5265-2F6A694EA99E}"/>
                </a:ext>
              </a:extLst>
            </p:cNvPr>
            <p:cNvCxnSpPr>
              <a:cxnSpLocks/>
            </p:cNvCxnSpPr>
            <p:nvPr/>
          </p:nvCxnSpPr>
          <p:spPr>
            <a:xfrm>
              <a:off x="1422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5" name="Straight Connector 484">
              <a:extLst>
                <a:ext uri="{FF2B5EF4-FFF2-40B4-BE49-F238E27FC236}">
                  <a16:creationId xmlns:a16="http://schemas.microsoft.com/office/drawing/2014/main" id="{15C6FF81-886C-85A3-74F3-FEA2D65411D9}"/>
                </a:ext>
              </a:extLst>
            </p:cNvPr>
            <p:cNvCxnSpPr>
              <a:cxnSpLocks/>
            </p:cNvCxnSpPr>
            <p:nvPr/>
          </p:nvCxnSpPr>
          <p:spPr>
            <a:xfrm>
              <a:off x="1625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6" name="Straight Connector 485">
              <a:extLst>
                <a:ext uri="{FF2B5EF4-FFF2-40B4-BE49-F238E27FC236}">
                  <a16:creationId xmlns:a16="http://schemas.microsoft.com/office/drawing/2014/main" id="{14435E9C-200D-C9D5-1C3E-84D7842FD739}"/>
                </a:ext>
              </a:extLst>
            </p:cNvPr>
            <p:cNvCxnSpPr>
              <a:cxnSpLocks/>
            </p:cNvCxnSpPr>
            <p:nvPr/>
          </p:nvCxnSpPr>
          <p:spPr>
            <a:xfrm>
              <a:off x="1828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7" name="Straight Connector 486">
              <a:extLst>
                <a:ext uri="{FF2B5EF4-FFF2-40B4-BE49-F238E27FC236}">
                  <a16:creationId xmlns:a16="http://schemas.microsoft.com/office/drawing/2014/main" id="{08C70336-CFF1-73E3-CC20-FF0B5F4F1B08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8" name="Straight Connector 487">
              <a:extLst>
                <a:ext uri="{FF2B5EF4-FFF2-40B4-BE49-F238E27FC236}">
                  <a16:creationId xmlns:a16="http://schemas.microsoft.com/office/drawing/2014/main" id="{990A9784-2128-3739-6828-0464B87B24B5}"/>
                </a:ext>
              </a:extLst>
            </p:cNvPr>
            <p:cNvCxnSpPr>
              <a:cxnSpLocks/>
            </p:cNvCxnSpPr>
            <p:nvPr/>
          </p:nvCxnSpPr>
          <p:spPr>
            <a:xfrm>
              <a:off x="2235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9" name="Straight Connector 488">
              <a:extLst>
                <a:ext uri="{FF2B5EF4-FFF2-40B4-BE49-F238E27FC236}">
                  <a16:creationId xmlns:a16="http://schemas.microsoft.com/office/drawing/2014/main" id="{7F6BBCAE-59FA-C39F-D856-F6C1B99357BD}"/>
                </a:ext>
              </a:extLst>
            </p:cNvPr>
            <p:cNvCxnSpPr>
              <a:cxnSpLocks/>
            </p:cNvCxnSpPr>
            <p:nvPr/>
          </p:nvCxnSpPr>
          <p:spPr>
            <a:xfrm>
              <a:off x="2438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0" name="Straight Connector 489">
              <a:extLst>
                <a:ext uri="{FF2B5EF4-FFF2-40B4-BE49-F238E27FC236}">
                  <a16:creationId xmlns:a16="http://schemas.microsoft.com/office/drawing/2014/main" id="{C7AE90AF-F2B3-2D98-9573-69E42B4F1180}"/>
                </a:ext>
              </a:extLst>
            </p:cNvPr>
            <p:cNvCxnSpPr>
              <a:cxnSpLocks/>
            </p:cNvCxnSpPr>
            <p:nvPr/>
          </p:nvCxnSpPr>
          <p:spPr>
            <a:xfrm>
              <a:off x="2641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1" name="Straight Connector 490">
              <a:extLst>
                <a:ext uri="{FF2B5EF4-FFF2-40B4-BE49-F238E27FC236}">
                  <a16:creationId xmlns:a16="http://schemas.microsoft.com/office/drawing/2014/main" id="{DD87DF0D-4B14-EAC2-7B33-EE2A7BBD2540}"/>
                </a:ext>
              </a:extLst>
            </p:cNvPr>
            <p:cNvCxnSpPr>
              <a:cxnSpLocks/>
            </p:cNvCxnSpPr>
            <p:nvPr/>
          </p:nvCxnSpPr>
          <p:spPr>
            <a:xfrm>
              <a:off x="2844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2" name="Straight Connector 491">
              <a:extLst>
                <a:ext uri="{FF2B5EF4-FFF2-40B4-BE49-F238E27FC236}">
                  <a16:creationId xmlns:a16="http://schemas.microsoft.com/office/drawing/2014/main" id="{1C50DBD5-B054-E2EF-8BD4-151AB42071B8}"/>
                </a:ext>
              </a:extLst>
            </p:cNvPr>
            <p:cNvCxnSpPr>
              <a:cxnSpLocks/>
            </p:cNvCxnSpPr>
            <p:nvPr/>
          </p:nvCxnSpPr>
          <p:spPr>
            <a:xfrm>
              <a:off x="3048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3" name="Straight Connector 492">
              <a:extLst>
                <a:ext uri="{FF2B5EF4-FFF2-40B4-BE49-F238E27FC236}">
                  <a16:creationId xmlns:a16="http://schemas.microsoft.com/office/drawing/2014/main" id="{4E2CDB4B-50EF-38DF-F894-51B55B068145}"/>
                </a:ext>
              </a:extLst>
            </p:cNvPr>
            <p:cNvCxnSpPr>
              <a:cxnSpLocks/>
            </p:cNvCxnSpPr>
            <p:nvPr/>
          </p:nvCxnSpPr>
          <p:spPr>
            <a:xfrm>
              <a:off x="3251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4" name="Straight Connector 493">
              <a:extLst>
                <a:ext uri="{FF2B5EF4-FFF2-40B4-BE49-F238E27FC236}">
                  <a16:creationId xmlns:a16="http://schemas.microsoft.com/office/drawing/2014/main" id="{C2B26D99-A049-647A-1B17-8A034D6FE107}"/>
                </a:ext>
              </a:extLst>
            </p:cNvPr>
            <p:cNvCxnSpPr>
              <a:cxnSpLocks/>
            </p:cNvCxnSpPr>
            <p:nvPr/>
          </p:nvCxnSpPr>
          <p:spPr>
            <a:xfrm>
              <a:off x="3454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5" name="Straight Connector 494">
              <a:extLst>
                <a:ext uri="{FF2B5EF4-FFF2-40B4-BE49-F238E27FC236}">
                  <a16:creationId xmlns:a16="http://schemas.microsoft.com/office/drawing/2014/main" id="{0ADE33D8-68EC-0B06-EF7C-DDDEBFFCF026}"/>
                </a:ext>
              </a:extLst>
            </p:cNvPr>
            <p:cNvCxnSpPr>
              <a:cxnSpLocks/>
            </p:cNvCxnSpPr>
            <p:nvPr/>
          </p:nvCxnSpPr>
          <p:spPr>
            <a:xfrm>
              <a:off x="3657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6" name="Straight Connector 495">
              <a:extLst>
                <a:ext uri="{FF2B5EF4-FFF2-40B4-BE49-F238E27FC236}">
                  <a16:creationId xmlns:a16="http://schemas.microsoft.com/office/drawing/2014/main" id="{8C975F1D-58DB-1F73-820F-063341C8B3A4}"/>
                </a:ext>
              </a:extLst>
            </p:cNvPr>
            <p:cNvCxnSpPr>
              <a:cxnSpLocks/>
            </p:cNvCxnSpPr>
            <p:nvPr/>
          </p:nvCxnSpPr>
          <p:spPr>
            <a:xfrm>
              <a:off x="3860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7" name="Straight Connector 496">
              <a:extLst>
                <a:ext uri="{FF2B5EF4-FFF2-40B4-BE49-F238E27FC236}">
                  <a16:creationId xmlns:a16="http://schemas.microsoft.com/office/drawing/2014/main" id="{A1720D14-CD68-4EF7-8D92-430AFCF6E707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8" name="Straight Connector 497">
              <a:extLst>
                <a:ext uri="{FF2B5EF4-FFF2-40B4-BE49-F238E27FC236}">
                  <a16:creationId xmlns:a16="http://schemas.microsoft.com/office/drawing/2014/main" id="{B3377738-122A-6110-7977-82DEC19ECB3F}"/>
                </a:ext>
              </a:extLst>
            </p:cNvPr>
            <p:cNvCxnSpPr>
              <a:cxnSpLocks/>
            </p:cNvCxnSpPr>
            <p:nvPr/>
          </p:nvCxnSpPr>
          <p:spPr>
            <a:xfrm>
              <a:off x="4267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9" name="Straight Connector 498">
              <a:extLst>
                <a:ext uri="{FF2B5EF4-FFF2-40B4-BE49-F238E27FC236}">
                  <a16:creationId xmlns:a16="http://schemas.microsoft.com/office/drawing/2014/main" id="{F8B67FA9-22C4-3435-7DBA-841F642507D1}"/>
                </a:ext>
              </a:extLst>
            </p:cNvPr>
            <p:cNvCxnSpPr>
              <a:cxnSpLocks/>
            </p:cNvCxnSpPr>
            <p:nvPr/>
          </p:nvCxnSpPr>
          <p:spPr>
            <a:xfrm>
              <a:off x="4470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0" name="Straight Connector 499">
              <a:extLst>
                <a:ext uri="{FF2B5EF4-FFF2-40B4-BE49-F238E27FC236}">
                  <a16:creationId xmlns:a16="http://schemas.microsoft.com/office/drawing/2014/main" id="{AA91DADF-F35A-8A55-9981-16E8F7F5B810}"/>
                </a:ext>
              </a:extLst>
            </p:cNvPr>
            <p:cNvCxnSpPr>
              <a:cxnSpLocks/>
            </p:cNvCxnSpPr>
            <p:nvPr/>
          </p:nvCxnSpPr>
          <p:spPr>
            <a:xfrm>
              <a:off x="4673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1" name="Straight Connector 500">
              <a:extLst>
                <a:ext uri="{FF2B5EF4-FFF2-40B4-BE49-F238E27FC236}">
                  <a16:creationId xmlns:a16="http://schemas.microsoft.com/office/drawing/2014/main" id="{143CF3EC-1756-8096-44F1-4764812323DA}"/>
                </a:ext>
              </a:extLst>
            </p:cNvPr>
            <p:cNvCxnSpPr>
              <a:cxnSpLocks/>
            </p:cNvCxnSpPr>
            <p:nvPr/>
          </p:nvCxnSpPr>
          <p:spPr>
            <a:xfrm>
              <a:off x="4876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2" name="Straight Connector 501">
              <a:extLst>
                <a:ext uri="{FF2B5EF4-FFF2-40B4-BE49-F238E27FC236}">
                  <a16:creationId xmlns:a16="http://schemas.microsoft.com/office/drawing/2014/main" id="{759E4C6F-BE3A-7877-DAD8-5A486EFDE192}"/>
                </a:ext>
              </a:extLst>
            </p:cNvPr>
            <p:cNvCxnSpPr>
              <a:cxnSpLocks/>
            </p:cNvCxnSpPr>
            <p:nvPr/>
          </p:nvCxnSpPr>
          <p:spPr>
            <a:xfrm>
              <a:off x="5080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3" name="Straight Connector 502">
              <a:extLst>
                <a:ext uri="{FF2B5EF4-FFF2-40B4-BE49-F238E27FC236}">
                  <a16:creationId xmlns:a16="http://schemas.microsoft.com/office/drawing/2014/main" id="{9AF57447-A323-C2EB-F5B2-D550B7A461A7}"/>
                </a:ext>
              </a:extLst>
            </p:cNvPr>
            <p:cNvCxnSpPr>
              <a:cxnSpLocks/>
            </p:cNvCxnSpPr>
            <p:nvPr/>
          </p:nvCxnSpPr>
          <p:spPr>
            <a:xfrm>
              <a:off x="5283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4" name="Straight Connector 503">
              <a:extLst>
                <a:ext uri="{FF2B5EF4-FFF2-40B4-BE49-F238E27FC236}">
                  <a16:creationId xmlns:a16="http://schemas.microsoft.com/office/drawing/2014/main" id="{0E5BD1EB-7705-B5A1-1493-C52EA398107A}"/>
                </a:ext>
              </a:extLst>
            </p:cNvPr>
            <p:cNvCxnSpPr>
              <a:cxnSpLocks/>
            </p:cNvCxnSpPr>
            <p:nvPr/>
          </p:nvCxnSpPr>
          <p:spPr>
            <a:xfrm>
              <a:off x="5486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5" name="Straight Connector 504">
              <a:extLst>
                <a:ext uri="{FF2B5EF4-FFF2-40B4-BE49-F238E27FC236}">
                  <a16:creationId xmlns:a16="http://schemas.microsoft.com/office/drawing/2014/main" id="{A8AA8222-A9C9-71B0-8874-95D6EDADCD98}"/>
                </a:ext>
              </a:extLst>
            </p:cNvPr>
            <p:cNvCxnSpPr>
              <a:cxnSpLocks/>
            </p:cNvCxnSpPr>
            <p:nvPr/>
          </p:nvCxnSpPr>
          <p:spPr>
            <a:xfrm>
              <a:off x="5689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6" name="Straight Connector 505">
              <a:extLst>
                <a:ext uri="{FF2B5EF4-FFF2-40B4-BE49-F238E27FC236}">
                  <a16:creationId xmlns:a16="http://schemas.microsoft.com/office/drawing/2014/main" id="{073D880D-CD09-CBB4-16BA-2A8E87CD9D84}"/>
                </a:ext>
              </a:extLst>
            </p:cNvPr>
            <p:cNvCxnSpPr>
              <a:cxnSpLocks/>
            </p:cNvCxnSpPr>
            <p:nvPr/>
          </p:nvCxnSpPr>
          <p:spPr>
            <a:xfrm>
              <a:off x="5892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7" name="Straight Connector 506">
              <a:extLst>
                <a:ext uri="{FF2B5EF4-FFF2-40B4-BE49-F238E27FC236}">
                  <a16:creationId xmlns:a16="http://schemas.microsoft.com/office/drawing/2014/main" id="{812866F3-44A8-3CEA-28D9-7AF496C04A2A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8" name="Straight Connector 507">
              <a:extLst>
                <a:ext uri="{FF2B5EF4-FFF2-40B4-BE49-F238E27FC236}">
                  <a16:creationId xmlns:a16="http://schemas.microsoft.com/office/drawing/2014/main" id="{F419295E-CDDB-9E97-8F28-F903EFD03208}"/>
                </a:ext>
              </a:extLst>
            </p:cNvPr>
            <p:cNvCxnSpPr>
              <a:cxnSpLocks/>
            </p:cNvCxnSpPr>
            <p:nvPr/>
          </p:nvCxnSpPr>
          <p:spPr>
            <a:xfrm>
              <a:off x="6299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9" name="Straight Connector 508">
              <a:extLst>
                <a:ext uri="{FF2B5EF4-FFF2-40B4-BE49-F238E27FC236}">
                  <a16:creationId xmlns:a16="http://schemas.microsoft.com/office/drawing/2014/main" id="{54B7287C-0431-4B10-1E6B-22F8C128B338}"/>
                </a:ext>
              </a:extLst>
            </p:cNvPr>
            <p:cNvCxnSpPr>
              <a:cxnSpLocks/>
            </p:cNvCxnSpPr>
            <p:nvPr/>
          </p:nvCxnSpPr>
          <p:spPr>
            <a:xfrm>
              <a:off x="6502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0" name="Straight Connector 509">
              <a:extLst>
                <a:ext uri="{FF2B5EF4-FFF2-40B4-BE49-F238E27FC236}">
                  <a16:creationId xmlns:a16="http://schemas.microsoft.com/office/drawing/2014/main" id="{3FE9B0CE-F112-12DC-9291-B7C599F9031F}"/>
                </a:ext>
              </a:extLst>
            </p:cNvPr>
            <p:cNvCxnSpPr>
              <a:cxnSpLocks/>
            </p:cNvCxnSpPr>
            <p:nvPr/>
          </p:nvCxnSpPr>
          <p:spPr>
            <a:xfrm>
              <a:off x="6705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1" name="Straight Connector 510">
              <a:extLst>
                <a:ext uri="{FF2B5EF4-FFF2-40B4-BE49-F238E27FC236}">
                  <a16:creationId xmlns:a16="http://schemas.microsoft.com/office/drawing/2014/main" id="{AC7A6729-E1FF-ADA9-5404-512BB851730C}"/>
                </a:ext>
              </a:extLst>
            </p:cNvPr>
            <p:cNvCxnSpPr>
              <a:cxnSpLocks/>
            </p:cNvCxnSpPr>
            <p:nvPr/>
          </p:nvCxnSpPr>
          <p:spPr>
            <a:xfrm>
              <a:off x="6908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2" name="Straight Connector 511">
              <a:extLst>
                <a:ext uri="{FF2B5EF4-FFF2-40B4-BE49-F238E27FC236}">
                  <a16:creationId xmlns:a16="http://schemas.microsoft.com/office/drawing/2014/main" id="{2E124A38-8DB4-882E-F91D-8E5F0F19E790}"/>
                </a:ext>
              </a:extLst>
            </p:cNvPr>
            <p:cNvCxnSpPr>
              <a:cxnSpLocks/>
            </p:cNvCxnSpPr>
            <p:nvPr/>
          </p:nvCxnSpPr>
          <p:spPr>
            <a:xfrm>
              <a:off x="7112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3" name="Straight Connector 512">
              <a:extLst>
                <a:ext uri="{FF2B5EF4-FFF2-40B4-BE49-F238E27FC236}">
                  <a16:creationId xmlns:a16="http://schemas.microsoft.com/office/drawing/2014/main" id="{387D883A-C569-9048-1102-2A4481F19B37}"/>
                </a:ext>
              </a:extLst>
            </p:cNvPr>
            <p:cNvCxnSpPr>
              <a:cxnSpLocks/>
            </p:cNvCxnSpPr>
            <p:nvPr/>
          </p:nvCxnSpPr>
          <p:spPr>
            <a:xfrm>
              <a:off x="7315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4" name="Straight Connector 513">
              <a:extLst>
                <a:ext uri="{FF2B5EF4-FFF2-40B4-BE49-F238E27FC236}">
                  <a16:creationId xmlns:a16="http://schemas.microsoft.com/office/drawing/2014/main" id="{64162DA4-1950-A179-F2ED-B50E9BA48A08}"/>
                </a:ext>
              </a:extLst>
            </p:cNvPr>
            <p:cNvCxnSpPr>
              <a:cxnSpLocks/>
            </p:cNvCxnSpPr>
            <p:nvPr/>
          </p:nvCxnSpPr>
          <p:spPr>
            <a:xfrm>
              <a:off x="7518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5" name="Straight Connector 514">
              <a:extLst>
                <a:ext uri="{FF2B5EF4-FFF2-40B4-BE49-F238E27FC236}">
                  <a16:creationId xmlns:a16="http://schemas.microsoft.com/office/drawing/2014/main" id="{7C8E0EA5-3EEA-1117-A686-2B01DA6D3C17}"/>
                </a:ext>
              </a:extLst>
            </p:cNvPr>
            <p:cNvCxnSpPr>
              <a:cxnSpLocks/>
            </p:cNvCxnSpPr>
            <p:nvPr/>
          </p:nvCxnSpPr>
          <p:spPr>
            <a:xfrm>
              <a:off x="7721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6" name="Straight Connector 515">
              <a:extLst>
                <a:ext uri="{FF2B5EF4-FFF2-40B4-BE49-F238E27FC236}">
                  <a16:creationId xmlns:a16="http://schemas.microsoft.com/office/drawing/2014/main" id="{57F3E21D-0683-5C73-B975-533264440FC3}"/>
                </a:ext>
              </a:extLst>
            </p:cNvPr>
            <p:cNvCxnSpPr>
              <a:cxnSpLocks/>
            </p:cNvCxnSpPr>
            <p:nvPr/>
          </p:nvCxnSpPr>
          <p:spPr>
            <a:xfrm>
              <a:off x="7924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7" name="Straight Connector 516">
              <a:extLst>
                <a:ext uri="{FF2B5EF4-FFF2-40B4-BE49-F238E27FC236}">
                  <a16:creationId xmlns:a16="http://schemas.microsoft.com/office/drawing/2014/main" id="{92F73360-9F43-3272-F218-F6DD824E0191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8" name="Straight Connector 517">
              <a:extLst>
                <a:ext uri="{FF2B5EF4-FFF2-40B4-BE49-F238E27FC236}">
                  <a16:creationId xmlns:a16="http://schemas.microsoft.com/office/drawing/2014/main" id="{0815A90B-9FFC-73FD-6C29-20CCE6A75CCC}"/>
                </a:ext>
              </a:extLst>
            </p:cNvPr>
            <p:cNvCxnSpPr>
              <a:cxnSpLocks/>
            </p:cNvCxnSpPr>
            <p:nvPr/>
          </p:nvCxnSpPr>
          <p:spPr>
            <a:xfrm>
              <a:off x="8331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9" name="Straight Connector 518">
              <a:extLst>
                <a:ext uri="{FF2B5EF4-FFF2-40B4-BE49-F238E27FC236}">
                  <a16:creationId xmlns:a16="http://schemas.microsoft.com/office/drawing/2014/main" id="{B9889978-8E24-F29B-3969-0C902E4E8981}"/>
                </a:ext>
              </a:extLst>
            </p:cNvPr>
            <p:cNvCxnSpPr>
              <a:cxnSpLocks/>
            </p:cNvCxnSpPr>
            <p:nvPr/>
          </p:nvCxnSpPr>
          <p:spPr>
            <a:xfrm>
              <a:off x="8534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0" name="Straight Connector 519">
              <a:extLst>
                <a:ext uri="{FF2B5EF4-FFF2-40B4-BE49-F238E27FC236}">
                  <a16:creationId xmlns:a16="http://schemas.microsoft.com/office/drawing/2014/main" id="{2ACD9AF2-6775-D81E-67C6-3FAE3A84D2F0}"/>
                </a:ext>
              </a:extLst>
            </p:cNvPr>
            <p:cNvCxnSpPr>
              <a:cxnSpLocks/>
            </p:cNvCxnSpPr>
            <p:nvPr/>
          </p:nvCxnSpPr>
          <p:spPr>
            <a:xfrm>
              <a:off x="8737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1" name="Straight Connector 520">
              <a:extLst>
                <a:ext uri="{FF2B5EF4-FFF2-40B4-BE49-F238E27FC236}">
                  <a16:creationId xmlns:a16="http://schemas.microsoft.com/office/drawing/2014/main" id="{A24E4C60-5323-F4AE-D168-9648B906A0FE}"/>
                </a:ext>
              </a:extLst>
            </p:cNvPr>
            <p:cNvCxnSpPr>
              <a:cxnSpLocks/>
            </p:cNvCxnSpPr>
            <p:nvPr/>
          </p:nvCxnSpPr>
          <p:spPr>
            <a:xfrm>
              <a:off x="8940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2" name="Straight Connector 521">
              <a:extLst>
                <a:ext uri="{FF2B5EF4-FFF2-40B4-BE49-F238E27FC236}">
                  <a16:creationId xmlns:a16="http://schemas.microsoft.com/office/drawing/2014/main" id="{E50AB0FC-534C-D3DB-E0BD-D115C26EAEF6}"/>
                </a:ext>
              </a:extLst>
            </p:cNvPr>
            <p:cNvCxnSpPr>
              <a:cxnSpLocks/>
            </p:cNvCxnSpPr>
            <p:nvPr/>
          </p:nvCxnSpPr>
          <p:spPr>
            <a:xfrm>
              <a:off x="9144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3" name="Straight Connector 522">
              <a:extLst>
                <a:ext uri="{FF2B5EF4-FFF2-40B4-BE49-F238E27FC236}">
                  <a16:creationId xmlns:a16="http://schemas.microsoft.com/office/drawing/2014/main" id="{F52C71A5-BAD9-6299-F2CC-A3092D8AF72C}"/>
                </a:ext>
              </a:extLst>
            </p:cNvPr>
            <p:cNvCxnSpPr>
              <a:cxnSpLocks/>
            </p:cNvCxnSpPr>
            <p:nvPr/>
          </p:nvCxnSpPr>
          <p:spPr>
            <a:xfrm>
              <a:off x="9347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4" name="Straight Connector 523">
              <a:extLst>
                <a:ext uri="{FF2B5EF4-FFF2-40B4-BE49-F238E27FC236}">
                  <a16:creationId xmlns:a16="http://schemas.microsoft.com/office/drawing/2014/main" id="{958DA808-DB1C-A5DF-786E-35DA879E01B2}"/>
                </a:ext>
              </a:extLst>
            </p:cNvPr>
            <p:cNvCxnSpPr>
              <a:cxnSpLocks/>
            </p:cNvCxnSpPr>
            <p:nvPr/>
          </p:nvCxnSpPr>
          <p:spPr>
            <a:xfrm>
              <a:off x="9550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5" name="Straight Connector 524">
              <a:extLst>
                <a:ext uri="{FF2B5EF4-FFF2-40B4-BE49-F238E27FC236}">
                  <a16:creationId xmlns:a16="http://schemas.microsoft.com/office/drawing/2014/main" id="{0D2A8C18-9FE8-4DB1-5D24-938D1CBE0532}"/>
                </a:ext>
              </a:extLst>
            </p:cNvPr>
            <p:cNvCxnSpPr>
              <a:cxnSpLocks/>
            </p:cNvCxnSpPr>
            <p:nvPr/>
          </p:nvCxnSpPr>
          <p:spPr>
            <a:xfrm>
              <a:off x="9753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6" name="Straight Connector 525">
              <a:extLst>
                <a:ext uri="{FF2B5EF4-FFF2-40B4-BE49-F238E27FC236}">
                  <a16:creationId xmlns:a16="http://schemas.microsoft.com/office/drawing/2014/main" id="{81FE3DA7-A8A6-A2AA-0244-F8D144F2DFE4}"/>
                </a:ext>
              </a:extLst>
            </p:cNvPr>
            <p:cNvCxnSpPr>
              <a:cxnSpLocks/>
            </p:cNvCxnSpPr>
            <p:nvPr/>
          </p:nvCxnSpPr>
          <p:spPr>
            <a:xfrm>
              <a:off x="9956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7" name="Straight Connector 526">
              <a:extLst>
                <a:ext uri="{FF2B5EF4-FFF2-40B4-BE49-F238E27FC236}">
                  <a16:creationId xmlns:a16="http://schemas.microsoft.com/office/drawing/2014/main" id="{7A0DDFF9-3FDE-2371-6A58-6817E418C63E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8" name="Straight Connector 527">
              <a:extLst>
                <a:ext uri="{FF2B5EF4-FFF2-40B4-BE49-F238E27FC236}">
                  <a16:creationId xmlns:a16="http://schemas.microsoft.com/office/drawing/2014/main" id="{1056F508-FEDC-9851-D9E6-680BFAE34424}"/>
                </a:ext>
              </a:extLst>
            </p:cNvPr>
            <p:cNvCxnSpPr>
              <a:cxnSpLocks/>
            </p:cNvCxnSpPr>
            <p:nvPr/>
          </p:nvCxnSpPr>
          <p:spPr>
            <a:xfrm>
              <a:off x="10363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9" name="Straight Connector 528">
              <a:extLst>
                <a:ext uri="{FF2B5EF4-FFF2-40B4-BE49-F238E27FC236}">
                  <a16:creationId xmlns:a16="http://schemas.microsoft.com/office/drawing/2014/main" id="{EA7FC7C6-6083-F3E9-DA92-FD5975FDE657}"/>
                </a:ext>
              </a:extLst>
            </p:cNvPr>
            <p:cNvCxnSpPr>
              <a:cxnSpLocks/>
            </p:cNvCxnSpPr>
            <p:nvPr/>
          </p:nvCxnSpPr>
          <p:spPr>
            <a:xfrm>
              <a:off x="10566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0" name="Straight Connector 529">
              <a:extLst>
                <a:ext uri="{FF2B5EF4-FFF2-40B4-BE49-F238E27FC236}">
                  <a16:creationId xmlns:a16="http://schemas.microsoft.com/office/drawing/2014/main" id="{0938D311-D0F9-2FE8-416D-8A0E4AEE5202}"/>
                </a:ext>
              </a:extLst>
            </p:cNvPr>
            <p:cNvCxnSpPr>
              <a:cxnSpLocks/>
            </p:cNvCxnSpPr>
            <p:nvPr/>
          </p:nvCxnSpPr>
          <p:spPr>
            <a:xfrm>
              <a:off x="10769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1" name="Straight Connector 530">
              <a:extLst>
                <a:ext uri="{FF2B5EF4-FFF2-40B4-BE49-F238E27FC236}">
                  <a16:creationId xmlns:a16="http://schemas.microsoft.com/office/drawing/2014/main" id="{89DC6F78-7566-B6EC-D723-6968A570FA85}"/>
                </a:ext>
              </a:extLst>
            </p:cNvPr>
            <p:cNvCxnSpPr>
              <a:cxnSpLocks/>
            </p:cNvCxnSpPr>
            <p:nvPr/>
          </p:nvCxnSpPr>
          <p:spPr>
            <a:xfrm>
              <a:off x="10972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2" name="Straight Connector 531">
              <a:extLst>
                <a:ext uri="{FF2B5EF4-FFF2-40B4-BE49-F238E27FC236}">
                  <a16:creationId xmlns:a16="http://schemas.microsoft.com/office/drawing/2014/main" id="{04F4395C-D536-7412-DA27-27CB4D046A4F}"/>
                </a:ext>
              </a:extLst>
            </p:cNvPr>
            <p:cNvCxnSpPr>
              <a:cxnSpLocks/>
            </p:cNvCxnSpPr>
            <p:nvPr/>
          </p:nvCxnSpPr>
          <p:spPr>
            <a:xfrm>
              <a:off x="11176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3" name="Straight Connector 532">
              <a:extLst>
                <a:ext uri="{FF2B5EF4-FFF2-40B4-BE49-F238E27FC236}">
                  <a16:creationId xmlns:a16="http://schemas.microsoft.com/office/drawing/2014/main" id="{A56B4B0D-3455-81B5-8078-7B59160A4A7E}"/>
                </a:ext>
              </a:extLst>
            </p:cNvPr>
            <p:cNvCxnSpPr>
              <a:cxnSpLocks/>
            </p:cNvCxnSpPr>
            <p:nvPr/>
          </p:nvCxnSpPr>
          <p:spPr>
            <a:xfrm>
              <a:off x="11379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4" name="Straight Connector 533">
              <a:extLst>
                <a:ext uri="{FF2B5EF4-FFF2-40B4-BE49-F238E27FC236}">
                  <a16:creationId xmlns:a16="http://schemas.microsoft.com/office/drawing/2014/main" id="{71C11C32-989E-46E1-81D3-E3540A5E1417}"/>
                </a:ext>
              </a:extLst>
            </p:cNvPr>
            <p:cNvCxnSpPr>
              <a:cxnSpLocks/>
            </p:cNvCxnSpPr>
            <p:nvPr/>
          </p:nvCxnSpPr>
          <p:spPr>
            <a:xfrm>
              <a:off x="11582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5" name="Straight Connector 534">
              <a:extLst>
                <a:ext uri="{FF2B5EF4-FFF2-40B4-BE49-F238E27FC236}">
                  <a16:creationId xmlns:a16="http://schemas.microsoft.com/office/drawing/2014/main" id="{3B7FB739-3C16-D6AE-B634-448D38364454}"/>
                </a:ext>
              </a:extLst>
            </p:cNvPr>
            <p:cNvCxnSpPr>
              <a:cxnSpLocks/>
            </p:cNvCxnSpPr>
            <p:nvPr/>
          </p:nvCxnSpPr>
          <p:spPr>
            <a:xfrm>
              <a:off x="11785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6" name="Straight Connector 535">
              <a:extLst>
                <a:ext uri="{FF2B5EF4-FFF2-40B4-BE49-F238E27FC236}">
                  <a16:creationId xmlns:a16="http://schemas.microsoft.com/office/drawing/2014/main" id="{001067A1-DCFF-A844-2E14-B8C932B38B48}"/>
                </a:ext>
              </a:extLst>
            </p:cNvPr>
            <p:cNvCxnSpPr>
              <a:cxnSpLocks/>
            </p:cNvCxnSpPr>
            <p:nvPr/>
          </p:nvCxnSpPr>
          <p:spPr>
            <a:xfrm>
              <a:off x="11988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9" name="Master Title Placeholder">
            <a:extLst>
              <a:ext uri="{FF2B5EF4-FFF2-40B4-BE49-F238E27FC236}">
                <a16:creationId xmlns:a16="http://schemas.microsoft.com/office/drawing/2014/main" id="{C5F0EFB3-EE4E-0B07-F454-E6D44406F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332768"/>
            <a:ext cx="11088001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defTabSz="972000"/>
            <a:r>
              <a:rPr lang="en-US"/>
              <a:t>This is the title in 36pt</a:t>
            </a:r>
          </a:p>
        </p:txBody>
      </p:sp>
      <p:sp>
        <p:nvSpPr>
          <p:cNvPr id="2" name="empower - DO NOT DELETE!!!">
            <a:extLst>
              <a:ext uri="{FF2B5EF4-FFF2-40B4-BE49-F238E27FC236}">
                <a16:creationId xmlns:a16="http://schemas.microsoft.com/office/drawing/2014/main" id="{978CAA9E-CAAE-E314-D023-855631DDB452}"/>
              </a:ext>
            </a:extLst>
          </p:cNvPr>
          <p:cNvSpPr/>
          <p:nvPr>
            <p:custDataLst>
              <p:tags r:id="rId6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3200" tIns="203200" rIns="203200" bIns="203200" rtlCol="0" anchor="ctr"/>
          <a:lstStyle/>
          <a:p>
            <a:pPr lvl="0" algn="ctr" defTabSz="486000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83702D8-C787-BB6D-E660-FE3EF595572A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US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US" sz="900" kern="120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5D2F2F-07C4-15CA-080C-498BFCC40B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000" y="1700808"/>
            <a:ext cx="11088001" cy="43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Body heading blue</a:t>
            </a:r>
          </a:p>
          <a:p>
            <a:pPr lvl="5"/>
            <a:r>
              <a:rPr lang="en-US"/>
              <a:t>Body heading light blue</a:t>
            </a:r>
          </a:p>
          <a:p>
            <a:pPr lvl="6"/>
            <a:r>
              <a:rPr lang="en-US"/>
              <a:t>Numbered</a:t>
            </a:r>
          </a:p>
          <a:p>
            <a:pPr lvl="7"/>
            <a:r>
              <a:rPr lang="en-US"/>
              <a:t>Numbered sub</a:t>
            </a:r>
          </a:p>
          <a:p>
            <a:pPr lvl="8"/>
            <a:r>
              <a:rPr lang="en-US"/>
              <a:t>Ninth level similar to subtitle</a:t>
            </a: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7E20D2EC-CDD4-6ACF-993E-65381BD1BF63}"/>
              </a:ext>
            </a:extLst>
          </p:cNvPr>
          <p:cNvSpPr/>
          <p:nvPr>
            <p:custDataLst>
              <p:tags r:id="rId6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3200" tIns="203200" rIns="203200" bIns="203200" rtlCol="0" anchor="ctr"/>
          <a:lstStyle/>
          <a:p>
            <a:pPr lvl="0" algn="ctr" defTabSz="486000">
              <a:lnSpc>
                <a:spcPct val="100000"/>
              </a:lnSpc>
              <a:spcAft>
                <a:spcPts val="0"/>
              </a:spcAft>
            </a:pP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101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57" r:id="rId2"/>
    <p:sldLayoutId id="2147483680" r:id="rId3"/>
    <p:sldLayoutId id="2147483704" r:id="rId4"/>
    <p:sldLayoutId id="2147483668" r:id="rId5"/>
    <p:sldLayoutId id="2147483692" r:id="rId6"/>
    <p:sldLayoutId id="2147483656" r:id="rId7"/>
    <p:sldLayoutId id="2147483678" r:id="rId8"/>
    <p:sldLayoutId id="2147483705" r:id="rId9"/>
    <p:sldLayoutId id="2147483699" r:id="rId10"/>
    <p:sldLayoutId id="2147483660" r:id="rId11"/>
    <p:sldLayoutId id="2147483681" r:id="rId12"/>
    <p:sldLayoutId id="2147483706" r:id="rId13"/>
    <p:sldLayoutId id="2147483670" r:id="rId14"/>
    <p:sldLayoutId id="2147483693" r:id="rId15"/>
    <p:sldLayoutId id="2147483658" r:id="rId16"/>
    <p:sldLayoutId id="2147483682" r:id="rId17"/>
    <p:sldLayoutId id="2147483707" r:id="rId18"/>
    <p:sldLayoutId id="2147483669" r:id="rId19"/>
    <p:sldLayoutId id="2147483688" r:id="rId20"/>
    <p:sldLayoutId id="2147483650" r:id="rId21"/>
    <p:sldLayoutId id="2147483671" r:id="rId22"/>
    <p:sldLayoutId id="2147483694" r:id="rId23"/>
    <p:sldLayoutId id="2147483661" r:id="rId24"/>
    <p:sldLayoutId id="2147483683" r:id="rId25"/>
    <p:sldLayoutId id="2147483649" r:id="rId26"/>
    <p:sldLayoutId id="2147483672" r:id="rId27"/>
    <p:sldLayoutId id="2147483695" r:id="rId28"/>
    <p:sldLayoutId id="2147483659" r:id="rId29"/>
    <p:sldLayoutId id="2147483673" r:id="rId30"/>
    <p:sldLayoutId id="2147483700" r:id="rId31"/>
    <p:sldLayoutId id="2147483662" r:id="rId32"/>
    <p:sldLayoutId id="2147483684" r:id="rId33"/>
    <p:sldLayoutId id="2147483651" r:id="rId34"/>
    <p:sldLayoutId id="2147483674" r:id="rId35"/>
    <p:sldLayoutId id="2147483696" r:id="rId36"/>
    <p:sldLayoutId id="2147483663" r:id="rId37"/>
    <p:sldLayoutId id="2147483685" r:id="rId38"/>
    <p:sldLayoutId id="2147483708" r:id="rId39"/>
    <p:sldLayoutId id="2147483664" r:id="rId40"/>
    <p:sldLayoutId id="2147483689" r:id="rId41"/>
    <p:sldLayoutId id="2147483652" r:id="rId42"/>
    <p:sldLayoutId id="2147483675" r:id="rId43"/>
    <p:sldLayoutId id="2147483701" r:id="rId44"/>
    <p:sldLayoutId id="2147483665" r:id="rId45"/>
    <p:sldLayoutId id="2147483686" r:id="rId46"/>
    <p:sldLayoutId id="2147483653" r:id="rId47"/>
    <p:sldLayoutId id="2147483676" r:id="rId48"/>
    <p:sldLayoutId id="2147483697" r:id="rId49"/>
    <p:sldLayoutId id="2147483654" r:id="rId50"/>
    <p:sldLayoutId id="2147483679" r:id="rId51"/>
    <p:sldLayoutId id="2147483702" r:id="rId52"/>
    <p:sldLayoutId id="2147483666" r:id="rId53"/>
    <p:sldLayoutId id="2147483690" r:id="rId54"/>
    <p:sldLayoutId id="2147483655" r:id="rId55"/>
    <p:sldLayoutId id="2147483677" r:id="rId56"/>
    <p:sldLayoutId id="2147483698" r:id="rId57"/>
    <p:sldLayoutId id="2147483667" r:id="rId58"/>
    <p:sldLayoutId id="2147483687" r:id="rId59"/>
    <p:sldLayoutId id="2147483703" r:id="rId60"/>
  </p:sldLayoutIdLst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:a14="http://schemas.microsoft.com/office/drawing/2010/main" xmlns:p15="http://schemas.microsoft.com/office/powerpoint/2012/main"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3600" b="0" i="0" kern="1200" spc="0" baseline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2032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2032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252000" algn="l" defTabSz="2032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lang="en-US" sz="18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2032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lang="en-US" sz="18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2032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US" sz="2000" b="1" kern="1200" baseline="0" dirty="0">
          <a:solidFill>
            <a:schemeClr val="accent1"/>
          </a:solidFill>
          <a:latin typeface="+mj-lt"/>
          <a:ea typeface="+mn-ea"/>
          <a:cs typeface="+mn-cs"/>
        </a:defRPr>
      </a:lvl5pPr>
      <a:lvl6pPr marL="0" indent="0" algn="l" defTabSz="2032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US" sz="2000" b="1" kern="1200" baseline="0" noProof="0" dirty="0">
          <a:solidFill>
            <a:schemeClr val="accent2"/>
          </a:solidFill>
          <a:latin typeface="+mj-lt"/>
          <a:ea typeface="+mn-ea"/>
          <a:cs typeface="+mn-cs"/>
        </a:defRPr>
      </a:lvl6pPr>
      <a:lvl7pPr marL="250825" indent="-250825" algn="l" defTabSz="2032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Font typeface="+mj-lt"/>
        <a:buAutoNum type="arabicPeriod"/>
        <a:defRPr lang="en-US" sz="1800" b="0" kern="1200" baseline="0" noProof="0" dirty="0">
          <a:solidFill>
            <a:schemeClr val="accent1"/>
          </a:solidFill>
          <a:latin typeface="+mj-lt"/>
          <a:ea typeface="+mn-ea"/>
          <a:cs typeface="+mn-cs"/>
        </a:defRPr>
      </a:lvl7pPr>
      <a:lvl8pPr marL="504000" indent="-252000" algn="l" defTabSz="2032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Font typeface="+mj-lt"/>
        <a:buAutoNum type="alphaLcParenR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032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US" sz="2000" kern="1200" baseline="0" noProof="0" dirty="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lvl1pPr marL="0" indent="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03200" indent="-20320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Char char="§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20320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lang="en-US" sz="18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09600" indent="-203200" algn="l" defTabSz="203200" rtl="0" eaLnBrk="1" latinLnBrk="0" hangingPunct="1">
        <a:lnSpc>
          <a:spcPts val="2000"/>
        </a:lnSpc>
        <a:spcBef>
          <a:spcPts val="0"/>
        </a:spcBef>
        <a:spcAft>
          <a:spcPts val="400"/>
        </a:spcAft>
        <a:buFont typeface="Symbol" panose="05050102010706020507" pitchFamily="18" charset="2"/>
        <a:buChar char="-"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203200" rtl="0" eaLnBrk="1" latinLnBrk="0" hangingPunct="1">
        <a:lnSpc>
          <a:spcPts val="2000"/>
        </a:lnSpc>
        <a:spcBef>
          <a:spcPts val="0"/>
        </a:spcBef>
        <a:spcAft>
          <a:spcPts val="400"/>
        </a:spcAft>
        <a:buFontTx/>
        <a:buNone/>
        <a:defRPr lang="en-US" sz="14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406400" indent="-40640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 typeface="+mj-lt"/>
        <a:buAutoNum type="arabicPeriod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Tx/>
        <a:buNone/>
        <a:defRPr lang="en-US" sz="1800" b="0" kern="1200" baseline="0" noProof="0" dirty="0">
          <a:solidFill>
            <a:schemeClr val="accent1"/>
          </a:solidFill>
          <a:latin typeface="+mj-lt"/>
          <a:ea typeface="+mn-ea"/>
          <a:cs typeface="+mn-cs"/>
        </a:defRPr>
      </a:lvl7pPr>
      <a:lvl8pPr marL="0" indent="0" algn="l" defTabSz="203200" rtl="0" eaLnBrk="1" latinLnBrk="0" hangingPunct="1">
        <a:lnSpc>
          <a:spcPts val="3200"/>
        </a:lnSpc>
        <a:spcBef>
          <a:spcPts val="0"/>
        </a:spcBef>
        <a:spcAft>
          <a:spcPts val="1600"/>
        </a:spcAft>
        <a:buFontTx/>
        <a:buNone/>
        <a:defRPr lang="en-US" sz="24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03200" rtl="0" eaLnBrk="1" latinLnBrk="0" hangingPunct="1">
        <a:lnSpc>
          <a:spcPts val="4000"/>
        </a:lnSpc>
        <a:spcBef>
          <a:spcPts val="1600"/>
        </a:spcBef>
        <a:spcAft>
          <a:spcPts val="1600"/>
        </a:spcAft>
        <a:buFontTx/>
        <a:buNone/>
        <a:defRPr lang="en-US" sz="3600" kern="1200" baseline="0" noProof="0" dirty="0">
          <a:solidFill>
            <a:schemeClr val="accent1"/>
          </a:solidFill>
          <a:latin typeface="+mj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5" orient="horz" pos="799">
          <p15:clr>
            <a:srgbClr val="F26B43"/>
          </p15:clr>
        </p15:guide>
        <p15:guide id="7" orient="horz" pos="1071">
          <p15:clr>
            <a:srgbClr val="F26B43"/>
          </p15:clr>
        </p15:guide>
        <p15:guide id="8" orient="horz" pos="527">
          <p15:clr>
            <a:srgbClr val="5ACBF0"/>
          </p15:clr>
        </p15:guide>
        <p15:guide id="9" pos="733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3" name="Additional Element concept" hidden="1">
            <a:extLst>
              <a:ext uri="{FF2B5EF4-FFF2-40B4-BE49-F238E27FC236}">
                <a16:creationId xmlns:a16="http://schemas.microsoft.com/office/drawing/2014/main" id="{3CAB6135-C290-663C-9345-16E108620336}"/>
              </a:ext>
            </a:extLst>
          </p:cNvPr>
          <p:cNvGrpSpPr/>
          <p:nvPr/>
        </p:nvGrpSpPr>
        <p:grpSpPr>
          <a:xfrm>
            <a:off x="609600" y="76200"/>
            <a:ext cx="10972800" cy="6705600"/>
            <a:chOff x="609600" y="76200"/>
            <a:chExt cx="10972800" cy="6705600"/>
          </a:xfrm>
        </p:grpSpPr>
        <p:sp>
          <p:nvSpPr>
            <p:cNvPr id="665" name="Page / Seite Nennfeld" hidden="1">
              <a:extLst>
                <a:ext uri="{FF2B5EF4-FFF2-40B4-BE49-F238E27FC236}">
                  <a16:creationId xmlns:a16="http://schemas.microsoft.com/office/drawing/2014/main" id="{7CD9DD86-11AE-049F-4411-63D077925911}"/>
                </a:ext>
              </a:extLst>
            </p:cNvPr>
            <p:cNvSpPr/>
            <p:nvPr/>
          </p:nvSpPr>
          <p:spPr>
            <a:xfrm>
              <a:off x="10160000" y="6578600"/>
              <a:ext cx="1219200" cy="203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/>
            <a:lstStyle/>
            <a:p>
              <a:pPr algn="r" defTabSz="203195">
                <a:lnSpc>
                  <a:spcPts val="1200"/>
                </a:lnSpc>
                <a:spcAft>
                  <a:spcPts val="400"/>
                </a:spcAft>
              </a:pPr>
              <a:r>
                <a:rPr lang="en-US" sz="900" baseline="0" dirty="0">
                  <a:solidFill>
                    <a:schemeClr val="tx1"/>
                  </a:solidFill>
                </a:rPr>
                <a:t>Page / </a:t>
              </a:r>
              <a:r>
                <a:rPr lang="en-US" sz="900" baseline="0" dirty="0" err="1">
                  <a:solidFill>
                    <a:schemeClr val="tx1"/>
                  </a:solidFill>
                </a:rPr>
                <a:t>Seite</a:t>
              </a:r>
              <a:endParaRPr lang="en-US" sz="900" baseline="0" dirty="0">
                <a:solidFill>
                  <a:schemeClr val="tx1"/>
                </a:solidFill>
              </a:endParaRPr>
            </a:p>
          </p:txBody>
        </p:sp>
        <p:sp>
          <p:nvSpPr>
            <p:cNvPr id="666" name="Confidential Field" hidden="1">
              <a:extLst>
                <a:ext uri="{FF2B5EF4-FFF2-40B4-BE49-F238E27FC236}">
                  <a16:creationId xmlns:a16="http://schemas.microsoft.com/office/drawing/2014/main" id="{ADE8244B-C860-A752-2444-B6AE0E542F15}"/>
                </a:ext>
              </a:extLst>
            </p:cNvPr>
            <p:cNvSpPr/>
            <p:nvPr/>
          </p:nvSpPr>
          <p:spPr>
            <a:xfrm>
              <a:off x="4470400" y="6578600"/>
              <a:ext cx="3251200" cy="203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/>
            <a:lstStyle/>
            <a:p>
              <a:pPr algn="ctr" defTabSz="203195">
                <a:lnSpc>
                  <a:spcPts val="1200"/>
                </a:lnSpc>
                <a:spcAft>
                  <a:spcPts val="400"/>
                </a:spcAft>
              </a:pPr>
              <a:r>
                <a:rPr lang="en-US" sz="900" baseline="0" dirty="0">
                  <a:solidFill>
                    <a:schemeClr val="tx1"/>
                  </a:solidFill>
                </a:rPr>
                <a:t>Confidential</a:t>
              </a:r>
            </a:p>
          </p:txBody>
        </p:sp>
        <p:sp>
          <p:nvSpPr>
            <p:cNvPr id="669" name="Footnote" hidden="1">
              <a:extLst>
                <a:ext uri="{FF2B5EF4-FFF2-40B4-BE49-F238E27FC236}">
                  <a16:creationId xmlns:a16="http://schemas.microsoft.com/office/drawing/2014/main" id="{2F0FFB9C-ECFB-EAB1-4C0A-6FF74BCA4EA9}"/>
                </a:ext>
              </a:extLst>
            </p:cNvPr>
            <p:cNvSpPr txBox="1"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609600" y="6324600"/>
              <a:ext cx="9144000" cy="203200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 anchorCtr="0">
              <a:noAutofit/>
            </a:bodyPr>
            <a:lstStyle/>
            <a:p>
              <a:pPr eaLnBrk="0" hangingPunct="0">
                <a:lnSpc>
                  <a:spcPts val="1200"/>
                </a:lnSpc>
                <a:buClr>
                  <a:schemeClr val="accent2"/>
                </a:buClr>
                <a:buFont typeface="Wingdings" pitchFamily="2" charset="2"/>
                <a:buNone/>
                <a:defRPr/>
              </a:pPr>
              <a:r>
                <a:rPr lang="en-US" altLang="ko-KR" sz="900" kern="0" dirty="0"/>
                <a:t>Footnote/Source: Insert information here</a:t>
              </a:r>
            </a:p>
          </p:txBody>
        </p:sp>
        <p:sp>
          <p:nvSpPr>
            <p:cNvPr id="670" name="Breadrump" hidden="1">
              <a:extLst>
                <a:ext uri="{FF2B5EF4-FFF2-40B4-BE49-F238E27FC236}">
                  <a16:creationId xmlns:a16="http://schemas.microsoft.com/office/drawing/2014/main" id="{3EA69488-F646-6AB9-FF03-F551E769852D}"/>
                </a:ext>
              </a:extLst>
            </p:cNvPr>
            <p:cNvSpPr txBox="1"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609600" y="76200"/>
              <a:ext cx="5486400" cy="203200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 anchorCtr="0">
              <a:noAutofit/>
            </a:bodyPr>
            <a:lstStyle/>
            <a:p>
              <a:pPr eaLnBrk="0" hangingPunct="0">
                <a:lnSpc>
                  <a:spcPts val="1200"/>
                </a:lnSpc>
                <a:buClr>
                  <a:schemeClr val="accent2"/>
                </a:buClr>
                <a:buFont typeface="Wingdings" pitchFamily="2" charset="2"/>
                <a:buNone/>
                <a:defRPr/>
              </a:pPr>
              <a:r>
                <a:rPr lang="en-US" altLang="ko-KR" sz="900" kern="0" dirty="0" err="1"/>
                <a:t>Breadcrump</a:t>
              </a:r>
              <a:r>
                <a:rPr lang="en-US" altLang="ko-KR" sz="900" kern="0" dirty="0"/>
                <a:t>/ Navigation</a:t>
              </a:r>
            </a:p>
          </p:txBody>
        </p:sp>
        <p:sp>
          <p:nvSpPr>
            <p:cNvPr id="671" name="Stamp" hidden="1">
              <a:extLst>
                <a:ext uri="{FF2B5EF4-FFF2-40B4-BE49-F238E27FC236}">
                  <a16:creationId xmlns:a16="http://schemas.microsoft.com/office/drawing/2014/main" id="{00FF0B6B-AF42-66E6-E533-D258D7A6F6A6}"/>
                </a:ext>
              </a:extLst>
            </p:cNvPr>
            <p:cNvSpPr/>
            <p:nvPr/>
          </p:nvSpPr>
          <p:spPr>
            <a:xfrm>
              <a:off x="10160000" y="6273800"/>
              <a:ext cx="1422400" cy="304800"/>
            </a:xfrm>
            <a:prstGeom prst="rect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r" defTabSz="203195">
                <a:lnSpc>
                  <a:spcPts val="1200"/>
                </a:lnSpc>
                <a:spcAft>
                  <a:spcPts val="400"/>
                </a:spcAft>
              </a:pPr>
              <a:r>
                <a:rPr lang="en-US" sz="900" baseline="0" dirty="0">
                  <a:solidFill>
                    <a:schemeClr val="tx1"/>
                  </a:solidFill>
                </a:rPr>
                <a:t>Stamp</a:t>
              </a:r>
            </a:p>
          </p:txBody>
        </p:sp>
        <p:sp>
          <p:nvSpPr>
            <p:cNvPr id="672" name="Subtitle" hidden="1">
              <a:extLst>
                <a:ext uri="{FF2B5EF4-FFF2-40B4-BE49-F238E27FC236}">
                  <a16:creationId xmlns:a16="http://schemas.microsoft.com/office/drawing/2014/main" id="{7F921553-F921-5C2D-93C0-0AD5E0633E08}"/>
                </a:ext>
              </a:extLst>
            </p:cNvPr>
            <p:cNvSpPr txBox="1"/>
            <p:nvPr/>
          </p:nvSpPr>
          <p:spPr>
            <a:xfrm>
              <a:off x="609600" y="990600"/>
              <a:ext cx="9144000" cy="609600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ts val="3200"/>
                </a:lnSpc>
                <a:spcBef>
                  <a:spcPts val="0"/>
                </a:spcBef>
                <a:spcAft>
                  <a:spcPts val="1600"/>
                </a:spcAft>
              </a:pPr>
              <a:r>
                <a:rPr lang="en-US" sz="2400" b="0" i="0" u="none" baseline="0" dirty="0">
                  <a:solidFill>
                    <a:schemeClr val="tx1"/>
                  </a:solidFill>
                </a:rPr>
                <a:t>Subtitle</a:t>
              </a:r>
            </a:p>
          </p:txBody>
        </p:sp>
      </p:grpSp>
      <p:grpSp>
        <p:nvGrpSpPr>
          <p:cNvPr id="639" name="Grid Support" hidden="1">
            <a:extLst>
              <a:ext uri="{FF2B5EF4-FFF2-40B4-BE49-F238E27FC236}">
                <a16:creationId xmlns:a16="http://schemas.microsoft.com/office/drawing/2014/main" id="{3FC3C060-626A-8DA3-5705-2484FEC01CB9}"/>
              </a:ext>
            </a:extLst>
          </p:cNvPr>
          <p:cNvGrpSpPr/>
          <p:nvPr/>
        </p:nvGrpSpPr>
        <p:grpSpPr>
          <a:xfrm>
            <a:off x="-355600" y="-330200"/>
            <a:ext cx="12344400" cy="7112000"/>
            <a:chOff x="-355600" y="-330200"/>
            <a:chExt cx="12344400" cy="7112000"/>
          </a:xfrm>
        </p:grpSpPr>
        <p:cxnSp>
          <p:nvCxnSpPr>
            <p:cNvPr id="538" name="Straight Connector 537">
              <a:extLst>
                <a:ext uri="{FF2B5EF4-FFF2-40B4-BE49-F238E27FC236}">
                  <a16:creationId xmlns:a16="http://schemas.microsoft.com/office/drawing/2014/main" id="{0CFD96D7-F7B5-142F-EAE5-D5F9F2FDBA5A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" y="-279400"/>
              <a:ext cx="0" cy="2032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9" name="Straight Connector 538">
              <a:extLst>
                <a:ext uri="{FF2B5EF4-FFF2-40B4-BE49-F238E27FC236}">
                  <a16:creationId xmlns:a16="http://schemas.microsoft.com/office/drawing/2014/main" id="{93331221-5891-F22B-9F08-47C0C7EFF474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0" name="Straight Connector 539">
              <a:extLst>
                <a:ext uri="{FF2B5EF4-FFF2-40B4-BE49-F238E27FC236}">
                  <a16:creationId xmlns:a16="http://schemas.microsoft.com/office/drawing/2014/main" id="{8FEB61DE-45BD-3922-7B29-B2F82EDCF557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1" name="Straight Connector 540">
              <a:extLst>
                <a:ext uri="{FF2B5EF4-FFF2-40B4-BE49-F238E27FC236}">
                  <a16:creationId xmlns:a16="http://schemas.microsoft.com/office/drawing/2014/main" id="{6F040774-B3E2-327F-8228-FABA92804614}"/>
                </a:ext>
              </a:extLst>
            </p:cNvPr>
            <p:cNvCxnSpPr>
              <a:cxnSpLocks/>
            </p:cNvCxnSpPr>
            <p:nvPr/>
          </p:nvCxnSpPr>
          <p:spPr>
            <a:xfrm>
              <a:off x="1219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2" name="Straight Connector 541">
              <a:extLst>
                <a:ext uri="{FF2B5EF4-FFF2-40B4-BE49-F238E27FC236}">
                  <a16:creationId xmlns:a16="http://schemas.microsoft.com/office/drawing/2014/main" id="{1B16B9D2-E67B-9BF5-B72C-0B2E23F28594}"/>
                </a:ext>
              </a:extLst>
            </p:cNvPr>
            <p:cNvCxnSpPr>
              <a:cxnSpLocks/>
            </p:cNvCxnSpPr>
            <p:nvPr/>
          </p:nvCxnSpPr>
          <p:spPr>
            <a:xfrm>
              <a:off x="1422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3" name="Straight Connector 542">
              <a:extLst>
                <a:ext uri="{FF2B5EF4-FFF2-40B4-BE49-F238E27FC236}">
                  <a16:creationId xmlns:a16="http://schemas.microsoft.com/office/drawing/2014/main" id="{66C23595-8A8F-45BD-CF53-7F7710DC2A6C}"/>
                </a:ext>
              </a:extLst>
            </p:cNvPr>
            <p:cNvCxnSpPr>
              <a:cxnSpLocks/>
            </p:cNvCxnSpPr>
            <p:nvPr/>
          </p:nvCxnSpPr>
          <p:spPr>
            <a:xfrm>
              <a:off x="1625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4" name="Straight Connector 543">
              <a:extLst>
                <a:ext uri="{FF2B5EF4-FFF2-40B4-BE49-F238E27FC236}">
                  <a16:creationId xmlns:a16="http://schemas.microsoft.com/office/drawing/2014/main" id="{E2788A33-1A09-CE11-1894-7EC10E5D8178}"/>
                </a:ext>
              </a:extLst>
            </p:cNvPr>
            <p:cNvCxnSpPr>
              <a:cxnSpLocks/>
            </p:cNvCxnSpPr>
            <p:nvPr/>
          </p:nvCxnSpPr>
          <p:spPr>
            <a:xfrm>
              <a:off x="1828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5" name="Straight Connector 544">
              <a:extLst>
                <a:ext uri="{FF2B5EF4-FFF2-40B4-BE49-F238E27FC236}">
                  <a16:creationId xmlns:a16="http://schemas.microsoft.com/office/drawing/2014/main" id="{0E61A20A-A2C4-25A4-1AA7-1102AE8F3091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6" name="Straight Connector 545">
              <a:extLst>
                <a:ext uri="{FF2B5EF4-FFF2-40B4-BE49-F238E27FC236}">
                  <a16:creationId xmlns:a16="http://schemas.microsoft.com/office/drawing/2014/main" id="{7656E82D-EFB5-8016-F7CD-C0A4DB1B004E}"/>
                </a:ext>
              </a:extLst>
            </p:cNvPr>
            <p:cNvCxnSpPr>
              <a:cxnSpLocks/>
            </p:cNvCxnSpPr>
            <p:nvPr/>
          </p:nvCxnSpPr>
          <p:spPr>
            <a:xfrm>
              <a:off x="2235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7" name="Straight Connector 546">
              <a:extLst>
                <a:ext uri="{FF2B5EF4-FFF2-40B4-BE49-F238E27FC236}">
                  <a16:creationId xmlns:a16="http://schemas.microsoft.com/office/drawing/2014/main" id="{293A0ADB-DA88-9B06-BAC5-17329C9EAC90}"/>
                </a:ext>
              </a:extLst>
            </p:cNvPr>
            <p:cNvCxnSpPr>
              <a:cxnSpLocks/>
            </p:cNvCxnSpPr>
            <p:nvPr/>
          </p:nvCxnSpPr>
          <p:spPr>
            <a:xfrm>
              <a:off x="2438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8" name="Straight Connector 547">
              <a:extLst>
                <a:ext uri="{FF2B5EF4-FFF2-40B4-BE49-F238E27FC236}">
                  <a16:creationId xmlns:a16="http://schemas.microsoft.com/office/drawing/2014/main" id="{1F59ACCC-FD64-918D-366A-5542B4BA550C}"/>
                </a:ext>
              </a:extLst>
            </p:cNvPr>
            <p:cNvCxnSpPr>
              <a:cxnSpLocks/>
            </p:cNvCxnSpPr>
            <p:nvPr/>
          </p:nvCxnSpPr>
          <p:spPr>
            <a:xfrm>
              <a:off x="2641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9" name="Straight Connector 548">
              <a:extLst>
                <a:ext uri="{FF2B5EF4-FFF2-40B4-BE49-F238E27FC236}">
                  <a16:creationId xmlns:a16="http://schemas.microsoft.com/office/drawing/2014/main" id="{40ACAE32-50B6-C70C-0F52-5F5380042B5B}"/>
                </a:ext>
              </a:extLst>
            </p:cNvPr>
            <p:cNvCxnSpPr>
              <a:cxnSpLocks/>
            </p:cNvCxnSpPr>
            <p:nvPr/>
          </p:nvCxnSpPr>
          <p:spPr>
            <a:xfrm>
              <a:off x="2844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0" name="Straight Connector 549">
              <a:extLst>
                <a:ext uri="{FF2B5EF4-FFF2-40B4-BE49-F238E27FC236}">
                  <a16:creationId xmlns:a16="http://schemas.microsoft.com/office/drawing/2014/main" id="{A7FF8456-C360-6D94-F32E-794DEB3B6724}"/>
                </a:ext>
              </a:extLst>
            </p:cNvPr>
            <p:cNvCxnSpPr>
              <a:cxnSpLocks/>
            </p:cNvCxnSpPr>
            <p:nvPr/>
          </p:nvCxnSpPr>
          <p:spPr>
            <a:xfrm>
              <a:off x="30480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1" name="Straight Connector 550">
              <a:extLst>
                <a:ext uri="{FF2B5EF4-FFF2-40B4-BE49-F238E27FC236}">
                  <a16:creationId xmlns:a16="http://schemas.microsoft.com/office/drawing/2014/main" id="{06CF12CE-84A0-9E99-1624-696586459355}"/>
                </a:ext>
              </a:extLst>
            </p:cNvPr>
            <p:cNvCxnSpPr>
              <a:cxnSpLocks/>
            </p:cNvCxnSpPr>
            <p:nvPr/>
          </p:nvCxnSpPr>
          <p:spPr>
            <a:xfrm>
              <a:off x="3251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2" name="Straight Connector 551">
              <a:extLst>
                <a:ext uri="{FF2B5EF4-FFF2-40B4-BE49-F238E27FC236}">
                  <a16:creationId xmlns:a16="http://schemas.microsoft.com/office/drawing/2014/main" id="{735CC67A-A18F-8FD4-9970-F34FC5C6F249}"/>
                </a:ext>
              </a:extLst>
            </p:cNvPr>
            <p:cNvCxnSpPr>
              <a:cxnSpLocks/>
            </p:cNvCxnSpPr>
            <p:nvPr/>
          </p:nvCxnSpPr>
          <p:spPr>
            <a:xfrm>
              <a:off x="34544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3" name="Straight Connector 552">
              <a:extLst>
                <a:ext uri="{FF2B5EF4-FFF2-40B4-BE49-F238E27FC236}">
                  <a16:creationId xmlns:a16="http://schemas.microsoft.com/office/drawing/2014/main" id="{F3357DD9-6F01-67C5-B320-67F664F641F4}"/>
                </a:ext>
              </a:extLst>
            </p:cNvPr>
            <p:cNvCxnSpPr>
              <a:cxnSpLocks/>
            </p:cNvCxnSpPr>
            <p:nvPr/>
          </p:nvCxnSpPr>
          <p:spPr>
            <a:xfrm>
              <a:off x="3657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4" name="Straight Connector 553">
              <a:extLst>
                <a:ext uri="{FF2B5EF4-FFF2-40B4-BE49-F238E27FC236}">
                  <a16:creationId xmlns:a16="http://schemas.microsoft.com/office/drawing/2014/main" id="{CA33B3A5-F75F-8D28-BA5B-E41A87A18616}"/>
                </a:ext>
              </a:extLst>
            </p:cNvPr>
            <p:cNvCxnSpPr>
              <a:cxnSpLocks/>
            </p:cNvCxnSpPr>
            <p:nvPr/>
          </p:nvCxnSpPr>
          <p:spPr>
            <a:xfrm>
              <a:off x="3860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5" name="Straight Connector 554">
              <a:extLst>
                <a:ext uri="{FF2B5EF4-FFF2-40B4-BE49-F238E27FC236}">
                  <a16:creationId xmlns:a16="http://schemas.microsoft.com/office/drawing/2014/main" id="{E0D02517-0B0D-B225-B7AF-7BAF2152A122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6" name="Straight Connector 555">
              <a:extLst>
                <a:ext uri="{FF2B5EF4-FFF2-40B4-BE49-F238E27FC236}">
                  <a16:creationId xmlns:a16="http://schemas.microsoft.com/office/drawing/2014/main" id="{8D06E266-C205-032D-0645-E190D504C1A0}"/>
                </a:ext>
              </a:extLst>
            </p:cNvPr>
            <p:cNvCxnSpPr>
              <a:cxnSpLocks/>
            </p:cNvCxnSpPr>
            <p:nvPr/>
          </p:nvCxnSpPr>
          <p:spPr>
            <a:xfrm>
              <a:off x="4267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7" name="Straight Connector 556">
              <a:extLst>
                <a:ext uri="{FF2B5EF4-FFF2-40B4-BE49-F238E27FC236}">
                  <a16:creationId xmlns:a16="http://schemas.microsoft.com/office/drawing/2014/main" id="{9D0657A7-D706-9062-85D2-D025DE8F8C11}"/>
                </a:ext>
              </a:extLst>
            </p:cNvPr>
            <p:cNvCxnSpPr>
              <a:cxnSpLocks/>
            </p:cNvCxnSpPr>
            <p:nvPr/>
          </p:nvCxnSpPr>
          <p:spPr>
            <a:xfrm>
              <a:off x="43688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8" name="Straight Connector 557">
              <a:extLst>
                <a:ext uri="{FF2B5EF4-FFF2-40B4-BE49-F238E27FC236}">
                  <a16:creationId xmlns:a16="http://schemas.microsoft.com/office/drawing/2014/main" id="{4F2F43BA-6928-67CB-C74E-A71348D93D31}"/>
                </a:ext>
              </a:extLst>
            </p:cNvPr>
            <p:cNvCxnSpPr>
              <a:cxnSpLocks/>
            </p:cNvCxnSpPr>
            <p:nvPr/>
          </p:nvCxnSpPr>
          <p:spPr>
            <a:xfrm>
              <a:off x="4673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9" name="Straight Connector 558">
              <a:extLst>
                <a:ext uri="{FF2B5EF4-FFF2-40B4-BE49-F238E27FC236}">
                  <a16:creationId xmlns:a16="http://schemas.microsoft.com/office/drawing/2014/main" id="{D71CA8D1-91D8-ADA9-A053-31B219F8C7FB}"/>
                </a:ext>
              </a:extLst>
            </p:cNvPr>
            <p:cNvCxnSpPr>
              <a:cxnSpLocks/>
            </p:cNvCxnSpPr>
            <p:nvPr/>
          </p:nvCxnSpPr>
          <p:spPr>
            <a:xfrm>
              <a:off x="4876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0" name="Straight Connector 559">
              <a:extLst>
                <a:ext uri="{FF2B5EF4-FFF2-40B4-BE49-F238E27FC236}">
                  <a16:creationId xmlns:a16="http://schemas.microsoft.com/office/drawing/2014/main" id="{9625713D-65A9-F3F2-4B72-605481BC5805}"/>
                </a:ext>
              </a:extLst>
            </p:cNvPr>
            <p:cNvCxnSpPr>
              <a:cxnSpLocks/>
            </p:cNvCxnSpPr>
            <p:nvPr/>
          </p:nvCxnSpPr>
          <p:spPr>
            <a:xfrm>
              <a:off x="5080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1" name="Straight Connector 560">
              <a:extLst>
                <a:ext uri="{FF2B5EF4-FFF2-40B4-BE49-F238E27FC236}">
                  <a16:creationId xmlns:a16="http://schemas.microsoft.com/office/drawing/2014/main" id="{6C0B6D21-1494-A9D8-22A5-38FE6EEE9A2F}"/>
                </a:ext>
              </a:extLst>
            </p:cNvPr>
            <p:cNvCxnSpPr>
              <a:cxnSpLocks/>
            </p:cNvCxnSpPr>
            <p:nvPr/>
          </p:nvCxnSpPr>
          <p:spPr>
            <a:xfrm>
              <a:off x="5283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2" name="Straight Connector 561">
              <a:extLst>
                <a:ext uri="{FF2B5EF4-FFF2-40B4-BE49-F238E27FC236}">
                  <a16:creationId xmlns:a16="http://schemas.microsoft.com/office/drawing/2014/main" id="{4E732CF3-B199-FD77-B7D5-0243115D2CD5}"/>
                </a:ext>
              </a:extLst>
            </p:cNvPr>
            <p:cNvCxnSpPr>
              <a:cxnSpLocks/>
            </p:cNvCxnSpPr>
            <p:nvPr/>
          </p:nvCxnSpPr>
          <p:spPr>
            <a:xfrm>
              <a:off x="5486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3" name="Straight Connector 562">
              <a:extLst>
                <a:ext uri="{FF2B5EF4-FFF2-40B4-BE49-F238E27FC236}">
                  <a16:creationId xmlns:a16="http://schemas.microsoft.com/office/drawing/2014/main" id="{F761F265-49ED-52D2-6332-0E82EAD4C9C5}"/>
                </a:ext>
              </a:extLst>
            </p:cNvPr>
            <p:cNvCxnSpPr>
              <a:cxnSpLocks/>
            </p:cNvCxnSpPr>
            <p:nvPr/>
          </p:nvCxnSpPr>
          <p:spPr>
            <a:xfrm>
              <a:off x="5689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4" name="Straight Connector 563">
              <a:extLst>
                <a:ext uri="{FF2B5EF4-FFF2-40B4-BE49-F238E27FC236}">
                  <a16:creationId xmlns:a16="http://schemas.microsoft.com/office/drawing/2014/main" id="{9D967D66-07B9-A192-15E7-012E074CB12C}"/>
                </a:ext>
              </a:extLst>
            </p:cNvPr>
            <p:cNvCxnSpPr>
              <a:cxnSpLocks/>
            </p:cNvCxnSpPr>
            <p:nvPr/>
          </p:nvCxnSpPr>
          <p:spPr>
            <a:xfrm>
              <a:off x="58928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5" name="Straight Connector 564">
              <a:extLst>
                <a:ext uri="{FF2B5EF4-FFF2-40B4-BE49-F238E27FC236}">
                  <a16:creationId xmlns:a16="http://schemas.microsoft.com/office/drawing/2014/main" id="{BA139CE2-F936-A4C0-5A31-74541FC268BD}"/>
                </a:ext>
              </a:extLst>
            </p:cNvPr>
            <p:cNvCxnSpPr>
              <a:cxnSpLocks/>
            </p:cNvCxnSpPr>
            <p:nvPr/>
          </p:nvCxnSpPr>
          <p:spPr>
            <a:xfrm>
              <a:off x="62992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6" name="Straight Connector 565">
              <a:extLst>
                <a:ext uri="{FF2B5EF4-FFF2-40B4-BE49-F238E27FC236}">
                  <a16:creationId xmlns:a16="http://schemas.microsoft.com/office/drawing/2014/main" id="{A06217BC-A172-8826-5B1A-1815842DFB8C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-330200"/>
              <a:ext cx="0" cy="2540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7" name="Straight Connector 566">
              <a:extLst>
                <a:ext uri="{FF2B5EF4-FFF2-40B4-BE49-F238E27FC236}">
                  <a16:creationId xmlns:a16="http://schemas.microsoft.com/office/drawing/2014/main" id="{4D5739CD-2EFA-DF52-32B2-AA6C209D294C}"/>
                </a:ext>
              </a:extLst>
            </p:cNvPr>
            <p:cNvCxnSpPr>
              <a:cxnSpLocks/>
            </p:cNvCxnSpPr>
            <p:nvPr/>
          </p:nvCxnSpPr>
          <p:spPr>
            <a:xfrm>
              <a:off x="6502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8" name="Straight Connector 567">
              <a:extLst>
                <a:ext uri="{FF2B5EF4-FFF2-40B4-BE49-F238E27FC236}">
                  <a16:creationId xmlns:a16="http://schemas.microsoft.com/office/drawing/2014/main" id="{EA3FD892-82CF-FD02-2480-825A51776510}"/>
                </a:ext>
              </a:extLst>
            </p:cNvPr>
            <p:cNvCxnSpPr>
              <a:cxnSpLocks/>
            </p:cNvCxnSpPr>
            <p:nvPr/>
          </p:nvCxnSpPr>
          <p:spPr>
            <a:xfrm>
              <a:off x="6705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9" name="Straight Connector 568">
              <a:extLst>
                <a:ext uri="{FF2B5EF4-FFF2-40B4-BE49-F238E27FC236}">
                  <a16:creationId xmlns:a16="http://schemas.microsoft.com/office/drawing/2014/main" id="{970C8D3E-5A6F-3A23-4E0C-A52288113B0C}"/>
                </a:ext>
              </a:extLst>
            </p:cNvPr>
            <p:cNvCxnSpPr>
              <a:cxnSpLocks/>
            </p:cNvCxnSpPr>
            <p:nvPr/>
          </p:nvCxnSpPr>
          <p:spPr>
            <a:xfrm>
              <a:off x="6908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0" name="Straight Connector 569">
              <a:extLst>
                <a:ext uri="{FF2B5EF4-FFF2-40B4-BE49-F238E27FC236}">
                  <a16:creationId xmlns:a16="http://schemas.microsoft.com/office/drawing/2014/main" id="{70661C4C-8175-B216-7221-D54CF1B4FCBE}"/>
                </a:ext>
              </a:extLst>
            </p:cNvPr>
            <p:cNvCxnSpPr>
              <a:cxnSpLocks/>
            </p:cNvCxnSpPr>
            <p:nvPr/>
          </p:nvCxnSpPr>
          <p:spPr>
            <a:xfrm>
              <a:off x="7112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1" name="Straight Connector 570">
              <a:extLst>
                <a:ext uri="{FF2B5EF4-FFF2-40B4-BE49-F238E27FC236}">
                  <a16:creationId xmlns:a16="http://schemas.microsoft.com/office/drawing/2014/main" id="{AF1955BD-A748-756E-D7ED-B2D35A39AB27}"/>
                </a:ext>
              </a:extLst>
            </p:cNvPr>
            <p:cNvCxnSpPr>
              <a:cxnSpLocks/>
            </p:cNvCxnSpPr>
            <p:nvPr/>
          </p:nvCxnSpPr>
          <p:spPr>
            <a:xfrm>
              <a:off x="7315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2" name="Straight Connector 571">
              <a:extLst>
                <a:ext uri="{FF2B5EF4-FFF2-40B4-BE49-F238E27FC236}">
                  <a16:creationId xmlns:a16="http://schemas.microsoft.com/office/drawing/2014/main" id="{4574CF1F-0C89-73FD-EC23-7E46DA1F08B5}"/>
                </a:ext>
              </a:extLst>
            </p:cNvPr>
            <p:cNvCxnSpPr>
              <a:cxnSpLocks/>
            </p:cNvCxnSpPr>
            <p:nvPr/>
          </p:nvCxnSpPr>
          <p:spPr>
            <a:xfrm>
              <a:off x="7518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3" name="Straight Connector 572">
              <a:extLst>
                <a:ext uri="{FF2B5EF4-FFF2-40B4-BE49-F238E27FC236}">
                  <a16:creationId xmlns:a16="http://schemas.microsoft.com/office/drawing/2014/main" id="{F131D6EB-5F2C-A5BB-E98C-547D82245228}"/>
                </a:ext>
              </a:extLst>
            </p:cNvPr>
            <p:cNvCxnSpPr>
              <a:cxnSpLocks/>
            </p:cNvCxnSpPr>
            <p:nvPr/>
          </p:nvCxnSpPr>
          <p:spPr>
            <a:xfrm>
              <a:off x="78232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4" name="Straight Connector 573">
              <a:extLst>
                <a:ext uri="{FF2B5EF4-FFF2-40B4-BE49-F238E27FC236}">
                  <a16:creationId xmlns:a16="http://schemas.microsoft.com/office/drawing/2014/main" id="{5247B6BA-7C8A-995A-C56A-489017203A7C}"/>
                </a:ext>
              </a:extLst>
            </p:cNvPr>
            <p:cNvCxnSpPr>
              <a:cxnSpLocks/>
            </p:cNvCxnSpPr>
            <p:nvPr/>
          </p:nvCxnSpPr>
          <p:spPr>
            <a:xfrm>
              <a:off x="7924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5" name="Straight Connector 574">
              <a:extLst>
                <a:ext uri="{FF2B5EF4-FFF2-40B4-BE49-F238E27FC236}">
                  <a16:creationId xmlns:a16="http://schemas.microsoft.com/office/drawing/2014/main" id="{C1D0666E-E92D-2534-33FC-81B3D5B33E9D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6" name="Straight Connector 575">
              <a:extLst>
                <a:ext uri="{FF2B5EF4-FFF2-40B4-BE49-F238E27FC236}">
                  <a16:creationId xmlns:a16="http://schemas.microsoft.com/office/drawing/2014/main" id="{B6E9A317-3C78-6F86-E665-ECD03079B65E}"/>
                </a:ext>
              </a:extLst>
            </p:cNvPr>
            <p:cNvCxnSpPr>
              <a:cxnSpLocks/>
            </p:cNvCxnSpPr>
            <p:nvPr/>
          </p:nvCxnSpPr>
          <p:spPr>
            <a:xfrm>
              <a:off x="8331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7" name="Straight Connector 576">
              <a:extLst>
                <a:ext uri="{FF2B5EF4-FFF2-40B4-BE49-F238E27FC236}">
                  <a16:creationId xmlns:a16="http://schemas.microsoft.com/office/drawing/2014/main" id="{025B8986-9FC6-ADA6-9B02-BEA16E3E3B57}"/>
                </a:ext>
              </a:extLst>
            </p:cNvPr>
            <p:cNvCxnSpPr>
              <a:cxnSpLocks/>
            </p:cNvCxnSpPr>
            <p:nvPr/>
          </p:nvCxnSpPr>
          <p:spPr>
            <a:xfrm>
              <a:off x="8534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8" name="Straight Connector 577">
              <a:extLst>
                <a:ext uri="{FF2B5EF4-FFF2-40B4-BE49-F238E27FC236}">
                  <a16:creationId xmlns:a16="http://schemas.microsoft.com/office/drawing/2014/main" id="{EB9090C4-9FA5-AB1E-1962-BF022AC67E6E}"/>
                </a:ext>
              </a:extLst>
            </p:cNvPr>
            <p:cNvCxnSpPr>
              <a:cxnSpLocks/>
            </p:cNvCxnSpPr>
            <p:nvPr/>
          </p:nvCxnSpPr>
          <p:spPr>
            <a:xfrm>
              <a:off x="87376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9" name="Straight Connector 578">
              <a:extLst>
                <a:ext uri="{FF2B5EF4-FFF2-40B4-BE49-F238E27FC236}">
                  <a16:creationId xmlns:a16="http://schemas.microsoft.com/office/drawing/2014/main" id="{A7DC5E42-5B1E-9A04-F9D0-89C6F53D8279}"/>
                </a:ext>
              </a:extLst>
            </p:cNvPr>
            <p:cNvCxnSpPr>
              <a:cxnSpLocks/>
            </p:cNvCxnSpPr>
            <p:nvPr/>
          </p:nvCxnSpPr>
          <p:spPr>
            <a:xfrm>
              <a:off x="8940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0" name="Straight Connector 579">
              <a:extLst>
                <a:ext uri="{FF2B5EF4-FFF2-40B4-BE49-F238E27FC236}">
                  <a16:creationId xmlns:a16="http://schemas.microsoft.com/office/drawing/2014/main" id="{048F7F9E-8A1E-6060-2317-2EEC3AA72D33}"/>
                </a:ext>
              </a:extLst>
            </p:cNvPr>
            <p:cNvCxnSpPr>
              <a:cxnSpLocks/>
            </p:cNvCxnSpPr>
            <p:nvPr/>
          </p:nvCxnSpPr>
          <p:spPr>
            <a:xfrm>
              <a:off x="91440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1" name="Straight Connector 580">
              <a:extLst>
                <a:ext uri="{FF2B5EF4-FFF2-40B4-BE49-F238E27FC236}">
                  <a16:creationId xmlns:a16="http://schemas.microsoft.com/office/drawing/2014/main" id="{B46B0057-F922-3010-085B-DD33BBCA160B}"/>
                </a:ext>
              </a:extLst>
            </p:cNvPr>
            <p:cNvCxnSpPr>
              <a:cxnSpLocks/>
            </p:cNvCxnSpPr>
            <p:nvPr/>
          </p:nvCxnSpPr>
          <p:spPr>
            <a:xfrm>
              <a:off x="9347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2" name="Straight Connector 581">
              <a:extLst>
                <a:ext uri="{FF2B5EF4-FFF2-40B4-BE49-F238E27FC236}">
                  <a16:creationId xmlns:a16="http://schemas.microsoft.com/office/drawing/2014/main" id="{8FDFD816-2C93-7063-8D10-DF1602BCEA59}"/>
                </a:ext>
              </a:extLst>
            </p:cNvPr>
            <p:cNvCxnSpPr>
              <a:cxnSpLocks/>
            </p:cNvCxnSpPr>
            <p:nvPr/>
          </p:nvCxnSpPr>
          <p:spPr>
            <a:xfrm>
              <a:off x="9550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3" name="Straight Connector 582">
              <a:extLst>
                <a:ext uri="{FF2B5EF4-FFF2-40B4-BE49-F238E27FC236}">
                  <a16:creationId xmlns:a16="http://schemas.microsoft.com/office/drawing/2014/main" id="{D4AD4558-CA13-F998-C692-CFA442B98CF3}"/>
                </a:ext>
              </a:extLst>
            </p:cNvPr>
            <p:cNvCxnSpPr>
              <a:cxnSpLocks/>
            </p:cNvCxnSpPr>
            <p:nvPr/>
          </p:nvCxnSpPr>
          <p:spPr>
            <a:xfrm>
              <a:off x="9753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4" name="Straight Connector 583">
              <a:extLst>
                <a:ext uri="{FF2B5EF4-FFF2-40B4-BE49-F238E27FC236}">
                  <a16:creationId xmlns:a16="http://schemas.microsoft.com/office/drawing/2014/main" id="{EF5866EF-C47C-64B0-EF93-CD27EC61CE92}"/>
                </a:ext>
              </a:extLst>
            </p:cNvPr>
            <p:cNvCxnSpPr>
              <a:cxnSpLocks/>
            </p:cNvCxnSpPr>
            <p:nvPr/>
          </p:nvCxnSpPr>
          <p:spPr>
            <a:xfrm>
              <a:off x="9956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5" name="Straight Connector 584">
              <a:extLst>
                <a:ext uri="{FF2B5EF4-FFF2-40B4-BE49-F238E27FC236}">
                  <a16:creationId xmlns:a16="http://schemas.microsoft.com/office/drawing/2014/main" id="{3A1DF5E2-1545-3752-0600-9F57DF24C442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6" name="Straight Connector 585">
              <a:extLst>
                <a:ext uri="{FF2B5EF4-FFF2-40B4-BE49-F238E27FC236}">
                  <a16:creationId xmlns:a16="http://schemas.microsoft.com/office/drawing/2014/main" id="{5A8813E6-4FFB-5BA0-5D87-EAB56660D152}"/>
                </a:ext>
              </a:extLst>
            </p:cNvPr>
            <p:cNvCxnSpPr>
              <a:cxnSpLocks/>
            </p:cNvCxnSpPr>
            <p:nvPr/>
          </p:nvCxnSpPr>
          <p:spPr>
            <a:xfrm>
              <a:off x="10363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7" name="Straight Connector 586">
              <a:extLst>
                <a:ext uri="{FF2B5EF4-FFF2-40B4-BE49-F238E27FC236}">
                  <a16:creationId xmlns:a16="http://schemas.microsoft.com/office/drawing/2014/main" id="{ACEECC28-0027-CF92-5878-E95F5C531126}"/>
                </a:ext>
              </a:extLst>
            </p:cNvPr>
            <p:cNvCxnSpPr>
              <a:cxnSpLocks/>
            </p:cNvCxnSpPr>
            <p:nvPr/>
          </p:nvCxnSpPr>
          <p:spPr>
            <a:xfrm>
              <a:off x="10566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8" name="Straight Connector 587">
              <a:extLst>
                <a:ext uri="{FF2B5EF4-FFF2-40B4-BE49-F238E27FC236}">
                  <a16:creationId xmlns:a16="http://schemas.microsoft.com/office/drawing/2014/main" id="{CAA365F0-E71C-6AC3-F1A8-D703D8ED2784}"/>
                </a:ext>
              </a:extLst>
            </p:cNvPr>
            <p:cNvCxnSpPr>
              <a:cxnSpLocks/>
            </p:cNvCxnSpPr>
            <p:nvPr/>
          </p:nvCxnSpPr>
          <p:spPr>
            <a:xfrm>
              <a:off x="10769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9" name="Straight Connector 588">
              <a:extLst>
                <a:ext uri="{FF2B5EF4-FFF2-40B4-BE49-F238E27FC236}">
                  <a16:creationId xmlns:a16="http://schemas.microsoft.com/office/drawing/2014/main" id="{53B3DCC7-EE6F-40AC-D98D-A51C8E0217B7}"/>
                </a:ext>
              </a:extLst>
            </p:cNvPr>
            <p:cNvCxnSpPr>
              <a:cxnSpLocks/>
            </p:cNvCxnSpPr>
            <p:nvPr/>
          </p:nvCxnSpPr>
          <p:spPr>
            <a:xfrm>
              <a:off x="10972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0" name="Straight Connector 589">
              <a:extLst>
                <a:ext uri="{FF2B5EF4-FFF2-40B4-BE49-F238E27FC236}">
                  <a16:creationId xmlns:a16="http://schemas.microsoft.com/office/drawing/2014/main" id="{1B780AD5-F3B4-F31D-71D6-2E7ACD15B884}"/>
                </a:ext>
              </a:extLst>
            </p:cNvPr>
            <p:cNvCxnSpPr>
              <a:cxnSpLocks/>
            </p:cNvCxnSpPr>
            <p:nvPr/>
          </p:nvCxnSpPr>
          <p:spPr>
            <a:xfrm>
              <a:off x="11176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1" name="Straight Connector 590">
              <a:extLst>
                <a:ext uri="{FF2B5EF4-FFF2-40B4-BE49-F238E27FC236}">
                  <a16:creationId xmlns:a16="http://schemas.microsoft.com/office/drawing/2014/main" id="{9A8DFB9D-F39D-52EA-3CA5-F90754515AE0}"/>
                </a:ext>
              </a:extLst>
            </p:cNvPr>
            <p:cNvCxnSpPr>
              <a:cxnSpLocks/>
            </p:cNvCxnSpPr>
            <p:nvPr/>
          </p:nvCxnSpPr>
          <p:spPr>
            <a:xfrm>
              <a:off x="11379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2" name="Straight Connector 591">
              <a:extLst>
                <a:ext uri="{FF2B5EF4-FFF2-40B4-BE49-F238E27FC236}">
                  <a16:creationId xmlns:a16="http://schemas.microsoft.com/office/drawing/2014/main" id="{2DC8CB96-FC71-067C-1772-D404679BE65B}"/>
                </a:ext>
              </a:extLst>
            </p:cNvPr>
            <p:cNvCxnSpPr>
              <a:cxnSpLocks/>
            </p:cNvCxnSpPr>
            <p:nvPr/>
          </p:nvCxnSpPr>
          <p:spPr>
            <a:xfrm>
              <a:off x="11582400" y="-279400"/>
              <a:ext cx="0" cy="2032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4" name="Straight Connector 593">
              <a:extLst>
                <a:ext uri="{FF2B5EF4-FFF2-40B4-BE49-F238E27FC236}">
                  <a16:creationId xmlns:a16="http://schemas.microsoft.com/office/drawing/2014/main" id="{CE448E3B-686D-F2E7-BE93-1A348BAA56B2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5" name="Straight Connector 594">
              <a:extLst>
                <a:ext uri="{FF2B5EF4-FFF2-40B4-BE49-F238E27FC236}">
                  <a16:creationId xmlns:a16="http://schemas.microsoft.com/office/drawing/2014/main" id="{02A84058-B93F-7838-ED54-63279616A24A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6" name="Straight Connector 595">
              <a:extLst>
                <a:ext uri="{FF2B5EF4-FFF2-40B4-BE49-F238E27FC236}">
                  <a16:creationId xmlns:a16="http://schemas.microsoft.com/office/drawing/2014/main" id="{8FD5D376-90F3-B3D0-734B-F29027A31096}"/>
                </a:ext>
              </a:extLst>
            </p:cNvPr>
            <p:cNvCxnSpPr>
              <a:cxnSpLocks/>
            </p:cNvCxnSpPr>
            <p:nvPr/>
          </p:nvCxnSpPr>
          <p:spPr>
            <a:xfrm>
              <a:off x="11785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7" name="Straight Connector 596">
              <a:extLst>
                <a:ext uri="{FF2B5EF4-FFF2-40B4-BE49-F238E27FC236}">
                  <a16:creationId xmlns:a16="http://schemas.microsoft.com/office/drawing/2014/main" id="{97E5D813-8AA6-6DA7-A49C-BE58F1B34337}"/>
                </a:ext>
              </a:extLst>
            </p:cNvPr>
            <p:cNvCxnSpPr>
              <a:cxnSpLocks/>
            </p:cNvCxnSpPr>
            <p:nvPr/>
          </p:nvCxnSpPr>
          <p:spPr>
            <a:xfrm>
              <a:off x="11988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8" name="Straight Connector 597">
              <a:extLst>
                <a:ext uri="{FF2B5EF4-FFF2-40B4-BE49-F238E27FC236}">
                  <a16:creationId xmlns:a16="http://schemas.microsoft.com/office/drawing/2014/main" id="{5D236085-90A1-DB70-640B-8E472222F4BA}"/>
                </a:ext>
              </a:extLst>
            </p:cNvPr>
            <p:cNvCxnSpPr>
              <a:cxnSpLocks/>
            </p:cNvCxnSpPr>
            <p:nvPr/>
          </p:nvCxnSpPr>
          <p:spPr>
            <a:xfrm>
              <a:off x="5892800" y="-3302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9" name="Straight Connector 598">
              <a:extLst>
                <a:ext uri="{FF2B5EF4-FFF2-40B4-BE49-F238E27FC236}">
                  <a16:creationId xmlns:a16="http://schemas.microsoft.com/office/drawing/2014/main" id="{398FF3E4-1ED1-8D51-B1F2-66042B748C20}"/>
                </a:ext>
              </a:extLst>
            </p:cNvPr>
            <p:cNvCxnSpPr>
              <a:cxnSpLocks/>
            </p:cNvCxnSpPr>
            <p:nvPr/>
          </p:nvCxnSpPr>
          <p:spPr>
            <a:xfrm>
              <a:off x="6299200" y="-3302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1" name="Straight Connector 600">
              <a:extLst>
                <a:ext uri="{FF2B5EF4-FFF2-40B4-BE49-F238E27FC236}">
                  <a16:creationId xmlns:a16="http://schemas.microsoft.com/office/drawing/2014/main" id="{6095E940-A401-0721-34C9-8A40518FB516}"/>
                </a:ext>
              </a:extLst>
            </p:cNvPr>
            <p:cNvCxnSpPr/>
            <p:nvPr/>
          </p:nvCxnSpPr>
          <p:spPr>
            <a:xfrm>
              <a:off x="-152400" y="279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2" name="Straight Connector 601">
              <a:extLst>
                <a:ext uri="{FF2B5EF4-FFF2-40B4-BE49-F238E27FC236}">
                  <a16:creationId xmlns:a16="http://schemas.microsoft.com/office/drawing/2014/main" id="{6E0C91D8-2789-586B-850C-2B6AF75AB3F1}"/>
                </a:ext>
              </a:extLst>
            </p:cNvPr>
            <p:cNvCxnSpPr/>
            <p:nvPr/>
          </p:nvCxnSpPr>
          <p:spPr>
            <a:xfrm>
              <a:off x="-152400" y="787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3" name="Straight Connector 602">
              <a:extLst>
                <a:ext uri="{FF2B5EF4-FFF2-40B4-BE49-F238E27FC236}">
                  <a16:creationId xmlns:a16="http://schemas.microsoft.com/office/drawing/2014/main" id="{C65BC6F8-6D5E-878E-30A0-8BFB97EB3A35}"/>
                </a:ext>
              </a:extLst>
            </p:cNvPr>
            <p:cNvCxnSpPr/>
            <p:nvPr/>
          </p:nvCxnSpPr>
          <p:spPr>
            <a:xfrm>
              <a:off x="-152400" y="584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4" name="Straight Connector 603">
              <a:extLst>
                <a:ext uri="{FF2B5EF4-FFF2-40B4-BE49-F238E27FC236}">
                  <a16:creationId xmlns:a16="http://schemas.microsoft.com/office/drawing/2014/main" id="{7CD01F2C-CFA1-AF3A-E462-F3DFEB7BA6B5}"/>
                </a:ext>
              </a:extLst>
            </p:cNvPr>
            <p:cNvCxnSpPr/>
            <p:nvPr/>
          </p:nvCxnSpPr>
          <p:spPr>
            <a:xfrm>
              <a:off x="-203200" y="381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5" name="Straight Connector 604">
              <a:extLst>
                <a:ext uri="{FF2B5EF4-FFF2-40B4-BE49-F238E27FC236}">
                  <a16:creationId xmlns:a16="http://schemas.microsoft.com/office/drawing/2014/main" id="{6A28F8B8-71B2-2C78-10FE-14714828B9F8}"/>
                </a:ext>
              </a:extLst>
            </p:cNvPr>
            <p:cNvCxnSpPr/>
            <p:nvPr/>
          </p:nvCxnSpPr>
          <p:spPr>
            <a:xfrm>
              <a:off x="-152400" y="990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6" name="Straight Connector 605">
              <a:extLst>
                <a:ext uri="{FF2B5EF4-FFF2-40B4-BE49-F238E27FC236}">
                  <a16:creationId xmlns:a16="http://schemas.microsoft.com/office/drawing/2014/main" id="{0B0E6785-BFF6-C9ED-0DF6-4D1FC08D9759}"/>
                </a:ext>
              </a:extLst>
            </p:cNvPr>
            <p:cNvCxnSpPr/>
            <p:nvPr/>
          </p:nvCxnSpPr>
          <p:spPr>
            <a:xfrm>
              <a:off x="-152400" y="1193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7" name="Straight Connector 606">
              <a:extLst>
                <a:ext uri="{FF2B5EF4-FFF2-40B4-BE49-F238E27FC236}">
                  <a16:creationId xmlns:a16="http://schemas.microsoft.com/office/drawing/2014/main" id="{2357CEA0-6726-6883-57BD-F7A9866DE9D6}"/>
                </a:ext>
              </a:extLst>
            </p:cNvPr>
            <p:cNvCxnSpPr/>
            <p:nvPr/>
          </p:nvCxnSpPr>
          <p:spPr>
            <a:xfrm>
              <a:off x="-203200" y="1397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8" name="Straight Connector 607">
              <a:extLst>
                <a:ext uri="{FF2B5EF4-FFF2-40B4-BE49-F238E27FC236}">
                  <a16:creationId xmlns:a16="http://schemas.microsoft.com/office/drawing/2014/main" id="{53A14786-7EC7-851B-C041-476BECB84CCF}"/>
                </a:ext>
              </a:extLst>
            </p:cNvPr>
            <p:cNvCxnSpPr/>
            <p:nvPr/>
          </p:nvCxnSpPr>
          <p:spPr>
            <a:xfrm>
              <a:off x="-203200" y="16002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9" name="Straight Connector 608">
              <a:extLst>
                <a:ext uri="{FF2B5EF4-FFF2-40B4-BE49-F238E27FC236}">
                  <a16:creationId xmlns:a16="http://schemas.microsoft.com/office/drawing/2014/main" id="{C0C88909-E77C-DBD7-A2B9-028D5D0044E7}"/>
                </a:ext>
              </a:extLst>
            </p:cNvPr>
            <p:cNvCxnSpPr/>
            <p:nvPr/>
          </p:nvCxnSpPr>
          <p:spPr>
            <a:xfrm>
              <a:off x="-152400" y="1803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0" name="Straight Connector 609">
              <a:extLst>
                <a:ext uri="{FF2B5EF4-FFF2-40B4-BE49-F238E27FC236}">
                  <a16:creationId xmlns:a16="http://schemas.microsoft.com/office/drawing/2014/main" id="{BCAB399B-CF8A-776E-E826-738F3118AE13}"/>
                </a:ext>
              </a:extLst>
            </p:cNvPr>
            <p:cNvCxnSpPr/>
            <p:nvPr/>
          </p:nvCxnSpPr>
          <p:spPr>
            <a:xfrm>
              <a:off x="-152400" y="2006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1" name="Straight Connector 610">
              <a:extLst>
                <a:ext uri="{FF2B5EF4-FFF2-40B4-BE49-F238E27FC236}">
                  <a16:creationId xmlns:a16="http://schemas.microsoft.com/office/drawing/2014/main" id="{868DC6BD-9FBB-1286-9464-F8F2D67D59FC}"/>
                </a:ext>
              </a:extLst>
            </p:cNvPr>
            <p:cNvCxnSpPr/>
            <p:nvPr/>
          </p:nvCxnSpPr>
          <p:spPr>
            <a:xfrm>
              <a:off x="-152400" y="2209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2" name="Straight Connector 611">
              <a:extLst>
                <a:ext uri="{FF2B5EF4-FFF2-40B4-BE49-F238E27FC236}">
                  <a16:creationId xmlns:a16="http://schemas.microsoft.com/office/drawing/2014/main" id="{1E25D695-C1C9-EEEC-CDA3-44D6E5F34E77}"/>
                </a:ext>
              </a:extLst>
            </p:cNvPr>
            <p:cNvCxnSpPr/>
            <p:nvPr/>
          </p:nvCxnSpPr>
          <p:spPr>
            <a:xfrm>
              <a:off x="-152400" y="2413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3" name="Straight Connector 612">
              <a:extLst>
                <a:ext uri="{FF2B5EF4-FFF2-40B4-BE49-F238E27FC236}">
                  <a16:creationId xmlns:a16="http://schemas.microsoft.com/office/drawing/2014/main" id="{D2AA6A8C-8B7C-BEC1-612C-95079A552131}"/>
                </a:ext>
              </a:extLst>
            </p:cNvPr>
            <p:cNvCxnSpPr/>
            <p:nvPr/>
          </p:nvCxnSpPr>
          <p:spPr>
            <a:xfrm>
              <a:off x="-203200" y="26162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4" name="Straight Connector 613">
              <a:extLst>
                <a:ext uri="{FF2B5EF4-FFF2-40B4-BE49-F238E27FC236}">
                  <a16:creationId xmlns:a16="http://schemas.microsoft.com/office/drawing/2014/main" id="{7926D3C4-502F-6EB2-103F-7BB89C56D324}"/>
                </a:ext>
              </a:extLst>
            </p:cNvPr>
            <p:cNvCxnSpPr/>
            <p:nvPr/>
          </p:nvCxnSpPr>
          <p:spPr>
            <a:xfrm>
              <a:off x="-203200" y="28194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5" name="Straight Connector 614">
              <a:extLst>
                <a:ext uri="{FF2B5EF4-FFF2-40B4-BE49-F238E27FC236}">
                  <a16:creationId xmlns:a16="http://schemas.microsoft.com/office/drawing/2014/main" id="{03F5467B-FE3D-54F0-2824-E3089A1941E5}"/>
                </a:ext>
              </a:extLst>
            </p:cNvPr>
            <p:cNvCxnSpPr/>
            <p:nvPr/>
          </p:nvCxnSpPr>
          <p:spPr>
            <a:xfrm>
              <a:off x="-254000" y="30226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6" name="Straight Connector 615">
              <a:extLst>
                <a:ext uri="{FF2B5EF4-FFF2-40B4-BE49-F238E27FC236}">
                  <a16:creationId xmlns:a16="http://schemas.microsoft.com/office/drawing/2014/main" id="{C9639B25-595E-6A2F-66DE-AAEE14F51126}"/>
                </a:ext>
              </a:extLst>
            </p:cNvPr>
            <p:cNvCxnSpPr/>
            <p:nvPr/>
          </p:nvCxnSpPr>
          <p:spPr>
            <a:xfrm>
              <a:off x="-254000" y="32258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7" name="Straight Connector 616">
              <a:extLst>
                <a:ext uri="{FF2B5EF4-FFF2-40B4-BE49-F238E27FC236}">
                  <a16:creationId xmlns:a16="http://schemas.microsoft.com/office/drawing/2014/main" id="{8E825E18-1B62-5390-7448-2A1060D38A41}"/>
                </a:ext>
              </a:extLst>
            </p:cNvPr>
            <p:cNvCxnSpPr/>
            <p:nvPr/>
          </p:nvCxnSpPr>
          <p:spPr>
            <a:xfrm>
              <a:off x="-152400" y="3429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8" name="Straight Connector 617">
              <a:extLst>
                <a:ext uri="{FF2B5EF4-FFF2-40B4-BE49-F238E27FC236}">
                  <a16:creationId xmlns:a16="http://schemas.microsoft.com/office/drawing/2014/main" id="{C47ACFEC-CFA8-DCC6-1DBA-0B99F8F7F19B}"/>
                </a:ext>
              </a:extLst>
            </p:cNvPr>
            <p:cNvCxnSpPr/>
            <p:nvPr/>
          </p:nvCxnSpPr>
          <p:spPr>
            <a:xfrm>
              <a:off x="-152400" y="3632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9" name="Straight Connector 618">
              <a:extLst>
                <a:ext uri="{FF2B5EF4-FFF2-40B4-BE49-F238E27FC236}">
                  <a16:creationId xmlns:a16="http://schemas.microsoft.com/office/drawing/2014/main" id="{EFE363C0-E0EE-758A-D7D7-44C3A27B037B}"/>
                </a:ext>
              </a:extLst>
            </p:cNvPr>
            <p:cNvCxnSpPr/>
            <p:nvPr/>
          </p:nvCxnSpPr>
          <p:spPr>
            <a:xfrm>
              <a:off x="-203200" y="38354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0" name="Straight Connector 619">
              <a:extLst>
                <a:ext uri="{FF2B5EF4-FFF2-40B4-BE49-F238E27FC236}">
                  <a16:creationId xmlns:a16="http://schemas.microsoft.com/office/drawing/2014/main" id="{1256F036-4A4D-1E9E-1A5F-DCC19044319F}"/>
                </a:ext>
              </a:extLst>
            </p:cNvPr>
            <p:cNvCxnSpPr/>
            <p:nvPr/>
          </p:nvCxnSpPr>
          <p:spPr>
            <a:xfrm>
              <a:off x="-203200" y="40386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1" name="Straight Connector 620">
              <a:extLst>
                <a:ext uri="{FF2B5EF4-FFF2-40B4-BE49-F238E27FC236}">
                  <a16:creationId xmlns:a16="http://schemas.microsoft.com/office/drawing/2014/main" id="{C3686432-DD24-E167-2715-EC8E69A77B28}"/>
                </a:ext>
              </a:extLst>
            </p:cNvPr>
            <p:cNvCxnSpPr/>
            <p:nvPr/>
          </p:nvCxnSpPr>
          <p:spPr>
            <a:xfrm>
              <a:off x="-152400" y="4241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2" name="Straight Connector 621">
              <a:extLst>
                <a:ext uri="{FF2B5EF4-FFF2-40B4-BE49-F238E27FC236}">
                  <a16:creationId xmlns:a16="http://schemas.microsoft.com/office/drawing/2014/main" id="{0E0CAE4F-0E99-E72E-1016-56A9182C682B}"/>
                </a:ext>
              </a:extLst>
            </p:cNvPr>
            <p:cNvCxnSpPr/>
            <p:nvPr/>
          </p:nvCxnSpPr>
          <p:spPr>
            <a:xfrm>
              <a:off x="-152400" y="4445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3" name="Straight Connector 622">
              <a:extLst>
                <a:ext uri="{FF2B5EF4-FFF2-40B4-BE49-F238E27FC236}">
                  <a16:creationId xmlns:a16="http://schemas.microsoft.com/office/drawing/2014/main" id="{53336AC3-6DDB-86F9-9A7D-257ACB7989DC}"/>
                </a:ext>
              </a:extLst>
            </p:cNvPr>
            <p:cNvCxnSpPr/>
            <p:nvPr/>
          </p:nvCxnSpPr>
          <p:spPr>
            <a:xfrm>
              <a:off x="-254000" y="46482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4" name="Straight Connector 623">
              <a:extLst>
                <a:ext uri="{FF2B5EF4-FFF2-40B4-BE49-F238E27FC236}">
                  <a16:creationId xmlns:a16="http://schemas.microsoft.com/office/drawing/2014/main" id="{CCB74389-CC92-2002-D402-1DBBBED7A822}"/>
                </a:ext>
              </a:extLst>
            </p:cNvPr>
            <p:cNvCxnSpPr/>
            <p:nvPr/>
          </p:nvCxnSpPr>
          <p:spPr>
            <a:xfrm>
              <a:off x="-254000" y="48514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5" name="Straight Connector 624">
              <a:extLst>
                <a:ext uri="{FF2B5EF4-FFF2-40B4-BE49-F238E27FC236}">
                  <a16:creationId xmlns:a16="http://schemas.microsoft.com/office/drawing/2014/main" id="{9BBA4A47-0FBB-01B7-12C2-8E1753941A49}"/>
                </a:ext>
              </a:extLst>
            </p:cNvPr>
            <p:cNvCxnSpPr/>
            <p:nvPr/>
          </p:nvCxnSpPr>
          <p:spPr>
            <a:xfrm>
              <a:off x="-203200" y="50546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6" name="Straight Connector 625">
              <a:extLst>
                <a:ext uri="{FF2B5EF4-FFF2-40B4-BE49-F238E27FC236}">
                  <a16:creationId xmlns:a16="http://schemas.microsoft.com/office/drawing/2014/main" id="{D004C5B6-F03D-5DE8-E68F-3AE4F793E861}"/>
                </a:ext>
              </a:extLst>
            </p:cNvPr>
            <p:cNvCxnSpPr/>
            <p:nvPr/>
          </p:nvCxnSpPr>
          <p:spPr>
            <a:xfrm>
              <a:off x="-203200" y="52578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7" name="Straight Connector 626">
              <a:extLst>
                <a:ext uri="{FF2B5EF4-FFF2-40B4-BE49-F238E27FC236}">
                  <a16:creationId xmlns:a16="http://schemas.microsoft.com/office/drawing/2014/main" id="{09051E2F-A7DB-6C7D-0E17-A29B16B9BB68}"/>
                </a:ext>
              </a:extLst>
            </p:cNvPr>
            <p:cNvCxnSpPr/>
            <p:nvPr/>
          </p:nvCxnSpPr>
          <p:spPr>
            <a:xfrm>
              <a:off x="-152400" y="5461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8" name="Straight Connector 627">
              <a:extLst>
                <a:ext uri="{FF2B5EF4-FFF2-40B4-BE49-F238E27FC236}">
                  <a16:creationId xmlns:a16="http://schemas.microsoft.com/office/drawing/2014/main" id="{D8ABCA41-6CE5-722F-3067-3FA5B8D5156F}"/>
                </a:ext>
              </a:extLst>
            </p:cNvPr>
            <p:cNvCxnSpPr/>
            <p:nvPr/>
          </p:nvCxnSpPr>
          <p:spPr>
            <a:xfrm>
              <a:off x="-152400" y="5664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9" name="Straight Connector 628">
              <a:extLst>
                <a:ext uri="{FF2B5EF4-FFF2-40B4-BE49-F238E27FC236}">
                  <a16:creationId xmlns:a16="http://schemas.microsoft.com/office/drawing/2014/main" id="{C699AE77-E204-CCB9-6118-A68AC4B33AF0}"/>
                </a:ext>
              </a:extLst>
            </p:cNvPr>
            <p:cNvCxnSpPr/>
            <p:nvPr/>
          </p:nvCxnSpPr>
          <p:spPr>
            <a:xfrm>
              <a:off x="-152400" y="5867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0" name="Straight Connector 629">
              <a:extLst>
                <a:ext uri="{FF2B5EF4-FFF2-40B4-BE49-F238E27FC236}">
                  <a16:creationId xmlns:a16="http://schemas.microsoft.com/office/drawing/2014/main" id="{E943A7C8-4C94-7FCC-1742-27A7BF9F6FD5}"/>
                </a:ext>
              </a:extLst>
            </p:cNvPr>
            <p:cNvCxnSpPr/>
            <p:nvPr/>
          </p:nvCxnSpPr>
          <p:spPr>
            <a:xfrm>
              <a:off x="-152400" y="6070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1" name="Straight Connector 630">
              <a:extLst>
                <a:ext uri="{FF2B5EF4-FFF2-40B4-BE49-F238E27FC236}">
                  <a16:creationId xmlns:a16="http://schemas.microsoft.com/office/drawing/2014/main" id="{50947452-EAD0-668A-3E77-1BFEF1BCD581}"/>
                </a:ext>
              </a:extLst>
            </p:cNvPr>
            <p:cNvCxnSpPr/>
            <p:nvPr/>
          </p:nvCxnSpPr>
          <p:spPr>
            <a:xfrm>
              <a:off x="-203200" y="62738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2" name="Straight Connector 631">
              <a:extLst>
                <a:ext uri="{FF2B5EF4-FFF2-40B4-BE49-F238E27FC236}">
                  <a16:creationId xmlns:a16="http://schemas.microsoft.com/office/drawing/2014/main" id="{DD31B4FC-0FE7-431E-CE7F-ED39AD1508FB}"/>
                </a:ext>
              </a:extLst>
            </p:cNvPr>
            <p:cNvCxnSpPr/>
            <p:nvPr/>
          </p:nvCxnSpPr>
          <p:spPr>
            <a:xfrm>
              <a:off x="-152400" y="6324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3" name="Straight Connector 632">
              <a:extLst>
                <a:ext uri="{FF2B5EF4-FFF2-40B4-BE49-F238E27FC236}">
                  <a16:creationId xmlns:a16="http://schemas.microsoft.com/office/drawing/2014/main" id="{937ADBB6-7460-DD0C-6040-C5E47275159B}"/>
                </a:ext>
              </a:extLst>
            </p:cNvPr>
            <p:cNvCxnSpPr/>
            <p:nvPr/>
          </p:nvCxnSpPr>
          <p:spPr>
            <a:xfrm>
              <a:off x="-152400" y="6527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4" name="Straight Connector 633">
              <a:extLst>
                <a:ext uri="{FF2B5EF4-FFF2-40B4-BE49-F238E27FC236}">
                  <a16:creationId xmlns:a16="http://schemas.microsoft.com/office/drawing/2014/main" id="{CA595009-CD54-1B6B-8D9F-1DA04B8E7841}"/>
                </a:ext>
              </a:extLst>
            </p:cNvPr>
            <p:cNvCxnSpPr/>
            <p:nvPr/>
          </p:nvCxnSpPr>
          <p:spPr>
            <a:xfrm>
              <a:off x="-152400" y="6578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5" name="Straight Connector 634">
              <a:extLst>
                <a:ext uri="{FF2B5EF4-FFF2-40B4-BE49-F238E27FC236}">
                  <a16:creationId xmlns:a16="http://schemas.microsoft.com/office/drawing/2014/main" id="{2B179F18-9FE2-E498-58DC-9875FF47D48B}"/>
                </a:ext>
              </a:extLst>
            </p:cNvPr>
            <p:cNvCxnSpPr/>
            <p:nvPr/>
          </p:nvCxnSpPr>
          <p:spPr>
            <a:xfrm>
              <a:off x="-152400" y="6781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7" name="Straight Connector 636">
              <a:extLst>
                <a:ext uri="{FF2B5EF4-FFF2-40B4-BE49-F238E27FC236}">
                  <a16:creationId xmlns:a16="http://schemas.microsoft.com/office/drawing/2014/main" id="{4970919A-9CD5-C0CC-0267-42EC5559928D}"/>
                </a:ext>
              </a:extLst>
            </p:cNvPr>
            <p:cNvCxnSpPr/>
            <p:nvPr/>
          </p:nvCxnSpPr>
          <p:spPr>
            <a:xfrm>
              <a:off x="-355600" y="38354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8" name="Straight Connector 637">
              <a:extLst>
                <a:ext uri="{FF2B5EF4-FFF2-40B4-BE49-F238E27FC236}">
                  <a16:creationId xmlns:a16="http://schemas.microsoft.com/office/drawing/2014/main" id="{2B963BD9-92DF-FF13-F685-D4599E73BB97}"/>
                </a:ext>
              </a:extLst>
            </p:cNvPr>
            <p:cNvCxnSpPr/>
            <p:nvPr/>
          </p:nvCxnSpPr>
          <p:spPr>
            <a:xfrm>
              <a:off x="-355600" y="40386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0" name="Straight Connector 639">
              <a:extLst>
                <a:ext uri="{FF2B5EF4-FFF2-40B4-BE49-F238E27FC236}">
                  <a16:creationId xmlns:a16="http://schemas.microsoft.com/office/drawing/2014/main" id="{1BC2CFB2-3A2B-4C75-4E77-438BCB0F3F8C}"/>
                </a:ext>
              </a:extLst>
            </p:cNvPr>
            <p:cNvCxnSpPr/>
            <p:nvPr/>
          </p:nvCxnSpPr>
          <p:spPr>
            <a:xfrm>
              <a:off x="-355600" y="62738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1" name="Straight Connector 640">
              <a:extLst>
                <a:ext uri="{FF2B5EF4-FFF2-40B4-BE49-F238E27FC236}">
                  <a16:creationId xmlns:a16="http://schemas.microsoft.com/office/drawing/2014/main" id="{42772E8F-76CC-2C6C-3660-BF3ABB87B872}"/>
                </a:ext>
              </a:extLst>
            </p:cNvPr>
            <p:cNvCxnSpPr/>
            <p:nvPr/>
          </p:nvCxnSpPr>
          <p:spPr>
            <a:xfrm>
              <a:off x="-152400" y="76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2" name="Straight Connector 641">
              <a:extLst>
                <a:ext uri="{FF2B5EF4-FFF2-40B4-BE49-F238E27FC236}">
                  <a16:creationId xmlns:a16="http://schemas.microsoft.com/office/drawing/2014/main" id="{6E3632F8-F2E3-25C9-690B-C73DF4FA8534}"/>
                </a:ext>
              </a:extLst>
            </p:cNvPr>
            <p:cNvCxnSpPr/>
            <p:nvPr/>
          </p:nvCxnSpPr>
          <p:spPr>
            <a:xfrm>
              <a:off x="-355600" y="16002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3" name="Straight Connector 642">
              <a:extLst>
                <a:ext uri="{FF2B5EF4-FFF2-40B4-BE49-F238E27FC236}">
                  <a16:creationId xmlns:a16="http://schemas.microsoft.com/office/drawing/2014/main" id="{A100E2E5-AD1D-B3D4-D7BD-BE18B05825D3}"/>
                </a:ext>
              </a:extLst>
            </p:cNvPr>
            <p:cNvCxnSpPr/>
            <p:nvPr/>
          </p:nvCxnSpPr>
          <p:spPr>
            <a:xfrm>
              <a:off x="-355600" y="1397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4" name="Straight Connector 643">
              <a:extLst>
                <a:ext uri="{FF2B5EF4-FFF2-40B4-BE49-F238E27FC236}">
                  <a16:creationId xmlns:a16="http://schemas.microsoft.com/office/drawing/2014/main" id="{9515AD02-D8EC-1249-38CB-5BEF1ADA3C86}"/>
                </a:ext>
              </a:extLst>
            </p:cNvPr>
            <p:cNvCxnSpPr/>
            <p:nvPr/>
          </p:nvCxnSpPr>
          <p:spPr>
            <a:xfrm>
              <a:off x="-355600" y="381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5" name="Straight Connector 644">
              <a:extLst>
                <a:ext uri="{FF2B5EF4-FFF2-40B4-BE49-F238E27FC236}">
                  <a16:creationId xmlns:a16="http://schemas.microsoft.com/office/drawing/2014/main" id="{2EEECE57-6126-4DDB-25E2-A496262849CC}"/>
                </a:ext>
              </a:extLst>
            </p:cNvPr>
            <p:cNvCxnSpPr/>
            <p:nvPr/>
          </p:nvCxnSpPr>
          <p:spPr>
            <a:xfrm>
              <a:off x="-355600" y="3937000"/>
              <a:ext cx="2540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6" name="Straight Connector 645">
              <a:extLst>
                <a:ext uri="{FF2B5EF4-FFF2-40B4-BE49-F238E27FC236}">
                  <a16:creationId xmlns:a16="http://schemas.microsoft.com/office/drawing/2014/main" id="{A33CD08E-3D5F-E423-EA6C-41CDB09E4946}"/>
                </a:ext>
              </a:extLst>
            </p:cNvPr>
            <p:cNvCxnSpPr/>
            <p:nvPr/>
          </p:nvCxnSpPr>
          <p:spPr>
            <a:xfrm>
              <a:off x="-355600" y="889000"/>
              <a:ext cx="2540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8" name="Straight Connector 647">
              <a:extLst>
                <a:ext uri="{FF2B5EF4-FFF2-40B4-BE49-F238E27FC236}">
                  <a16:creationId xmlns:a16="http://schemas.microsoft.com/office/drawing/2014/main" id="{2F4A3ECA-2825-7826-2925-38F6857BBA9D}"/>
                </a:ext>
              </a:extLst>
            </p:cNvPr>
            <p:cNvCxnSpPr>
              <a:cxnSpLocks/>
            </p:cNvCxnSpPr>
            <p:nvPr/>
          </p:nvCxnSpPr>
          <p:spPr>
            <a:xfrm>
              <a:off x="4470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9" name="Straight Connector 648">
              <a:extLst>
                <a:ext uri="{FF2B5EF4-FFF2-40B4-BE49-F238E27FC236}">
                  <a16:creationId xmlns:a16="http://schemas.microsoft.com/office/drawing/2014/main" id="{FAA54607-9340-DF57-EEED-6A94B812CBD4}"/>
                </a:ext>
              </a:extLst>
            </p:cNvPr>
            <p:cNvCxnSpPr>
              <a:cxnSpLocks/>
            </p:cNvCxnSpPr>
            <p:nvPr/>
          </p:nvCxnSpPr>
          <p:spPr>
            <a:xfrm>
              <a:off x="7721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7" name="Grid Structure 4pt/8px" hidden="1">
            <a:extLst>
              <a:ext uri="{FF2B5EF4-FFF2-40B4-BE49-F238E27FC236}">
                <a16:creationId xmlns:a16="http://schemas.microsoft.com/office/drawing/2014/main" id="{17F06CAB-5E70-ED5E-6F69-21DB28F66836}"/>
              </a:ext>
            </a:extLst>
          </p:cNvPr>
          <p:cNvGrpSpPr/>
          <p:nvPr/>
        </p:nvGrpSpPr>
        <p:grpSpPr>
          <a:xfrm>
            <a:off x="203200" y="76200"/>
            <a:ext cx="11785600" cy="6705600"/>
            <a:chOff x="203200" y="76200"/>
            <a:chExt cx="11785600" cy="6705600"/>
          </a:xfrm>
        </p:grpSpPr>
        <p:cxnSp>
          <p:nvCxnSpPr>
            <p:cNvPr id="479" name="Straight Connector 478">
              <a:extLst>
                <a:ext uri="{FF2B5EF4-FFF2-40B4-BE49-F238E27FC236}">
                  <a16:creationId xmlns:a16="http://schemas.microsoft.com/office/drawing/2014/main" id="{34D2403A-9E8C-5C39-9611-5C6026E28FE0}"/>
                </a:ext>
              </a:extLst>
            </p:cNvPr>
            <p:cNvCxnSpPr/>
            <p:nvPr/>
          </p:nvCxnSpPr>
          <p:spPr>
            <a:xfrm>
              <a:off x="203200" y="76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DB2C721B-E9C3-23FE-71DC-76B704DAC12B}"/>
                </a:ext>
              </a:extLst>
            </p:cNvPr>
            <p:cNvCxnSpPr/>
            <p:nvPr/>
          </p:nvCxnSpPr>
          <p:spPr>
            <a:xfrm>
              <a:off x="203200" y="279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3" name="Straight Connector 352">
              <a:extLst>
                <a:ext uri="{FF2B5EF4-FFF2-40B4-BE49-F238E27FC236}">
                  <a16:creationId xmlns:a16="http://schemas.microsoft.com/office/drawing/2014/main" id="{973E380C-48CF-9EE2-F928-02CDC3F93EE7}"/>
                </a:ext>
              </a:extLst>
            </p:cNvPr>
            <p:cNvCxnSpPr/>
            <p:nvPr/>
          </p:nvCxnSpPr>
          <p:spPr>
            <a:xfrm>
              <a:off x="203200" y="381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4" name="Straight Connector 353">
              <a:extLst>
                <a:ext uri="{FF2B5EF4-FFF2-40B4-BE49-F238E27FC236}">
                  <a16:creationId xmlns:a16="http://schemas.microsoft.com/office/drawing/2014/main" id="{29DCF932-F4D4-35CD-05D5-670C57F85362}"/>
                </a:ext>
              </a:extLst>
            </p:cNvPr>
            <p:cNvCxnSpPr/>
            <p:nvPr/>
          </p:nvCxnSpPr>
          <p:spPr>
            <a:xfrm>
              <a:off x="203200" y="584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5" name="Straight Connector 354">
              <a:extLst>
                <a:ext uri="{FF2B5EF4-FFF2-40B4-BE49-F238E27FC236}">
                  <a16:creationId xmlns:a16="http://schemas.microsoft.com/office/drawing/2014/main" id="{FB2A616B-0A95-F02E-1394-F50ED1398D37}"/>
                </a:ext>
              </a:extLst>
            </p:cNvPr>
            <p:cNvCxnSpPr/>
            <p:nvPr/>
          </p:nvCxnSpPr>
          <p:spPr>
            <a:xfrm>
              <a:off x="203200" y="787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7" name="Straight Connector 356">
              <a:extLst>
                <a:ext uri="{FF2B5EF4-FFF2-40B4-BE49-F238E27FC236}">
                  <a16:creationId xmlns:a16="http://schemas.microsoft.com/office/drawing/2014/main" id="{F9F49583-8544-EB28-23CE-B0CF778FF2BD}"/>
                </a:ext>
              </a:extLst>
            </p:cNvPr>
            <p:cNvCxnSpPr/>
            <p:nvPr/>
          </p:nvCxnSpPr>
          <p:spPr>
            <a:xfrm>
              <a:off x="203200" y="990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8" name="Straight Connector 357">
              <a:extLst>
                <a:ext uri="{FF2B5EF4-FFF2-40B4-BE49-F238E27FC236}">
                  <a16:creationId xmlns:a16="http://schemas.microsoft.com/office/drawing/2014/main" id="{41439CB3-66B0-E8F9-2591-4F7439CF740A}"/>
                </a:ext>
              </a:extLst>
            </p:cNvPr>
            <p:cNvCxnSpPr/>
            <p:nvPr/>
          </p:nvCxnSpPr>
          <p:spPr>
            <a:xfrm>
              <a:off x="203200" y="1193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9" name="Straight Connector 358">
              <a:extLst>
                <a:ext uri="{FF2B5EF4-FFF2-40B4-BE49-F238E27FC236}">
                  <a16:creationId xmlns:a16="http://schemas.microsoft.com/office/drawing/2014/main" id="{1DF61535-212C-C58C-8B29-40971B689923}"/>
                </a:ext>
              </a:extLst>
            </p:cNvPr>
            <p:cNvCxnSpPr/>
            <p:nvPr/>
          </p:nvCxnSpPr>
          <p:spPr>
            <a:xfrm>
              <a:off x="203200" y="1397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0" name="Straight Connector 359">
              <a:extLst>
                <a:ext uri="{FF2B5EF4-FFF2-40B4-BE49-F238E27FC236}">
                  <a16:creationId xmlns:a16="http://schemas.microsoft.com/office/drawing/2014/main" id="{EF6A89FF-8A54-3A74-8A1B-B23FB10155FB}"/>
                </a:ext>
              </a:extLst>
            </p:cNvPr>
            <p:cNvCxnSpPr/>
            <p:nvPr/>
          </p:nvCxnSpPr>
          <p:spPr>
            <a:xfrm>
              <a:off x="203200" y="1600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27BBE4AB-FAD5-25D7-6297-9CF0776FBD98}"/>
                </a:ext>
              </a:extLst>
            </p:cNvPr>
            <p:cNvCxnSpPr/>
            <p:nvPr/>
          </p:nvCxnSpPr>
          <p:spPr>
            <a:xfrm>
              <a:off x="203200" y="1803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3" name="Straight Connector 362">
              <a:extLst>
                <a:ext uri="{FF2B5EF4-FFF2-40B4-BE49-F238E27FC236}">
                  <a16:creationId xmlns:a16="http://schemas.microsoft.com/office/drawing/2014/main" id="{792D44F9-651A-7FA3-BDA6-E43F0D8A9471}"/>
                </a:ext>
              </a:extLst>
            </p:cNvPr>
            <p:cNvCxnSpPr/>
            <p:nvPr/>
          </p:nvCxnSpPr>
          <p:spPr>
            <a:xfrm>
              <a:off x="203200" y="2006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60BA471E-F499-8522-CD48-AFA1D4E83673}"/>
                </a:ext>
              </a:extLst>
            </p:cNvPr>
            <p:cNvCxnSpPr/>
            <p:nvPr/>
          </p:nvCxnSpPr>
          <p:spPr>
            <a:xfrm>
              <a:off x="203200" y="2209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D789B9C6-F8F0-DEFD-64EB-74D0D6BAF9E6}"/>
                </a:ext>
              </a:extLst>
            </p:cNvPr>
            <p:cNvCxnSpPr/>
            <p:nvPr/>
          </p:nvCxnSpPr>
          <p:spPr>
            <a:xfrm>
              <a:off x="203200" y="2413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7" name="Straight Connector 366">
              <a:extLst>
                <a:ext uri="{FF2B5EF4-FFF2-40B4-BE49-F238E27FC236}">
                  <a16:creationId xmlns:a16="http://schemas.microsoft.com/office/drawing/2014/main" id="{9325D9C7-1B5D-D0E6-DF87-C4C8303C6328}"/>
                </a:ext>
              </a:extLst>
            </p:cNvPr>
            <p:cNvCxnSpPr/>
            <p:nvPr/>
          </p:nvCxnSpPr>
          <p:spPr>
            <a:xfrm>
              <a:off x="203200" y="2616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8" name="Straight Connector 367">
              <a:extLst>
                <a:ext uri="{FF2B5EF4-FFF2-40B4-BE49-F238E27FC236}">
                  <a16:creationId xmlns:a16="http://schemas.microsoft.com/office/drawing/2014/main" id="{6F084FA9-52CB-AD53-5B86-1F0C239A027A}"/>
                </a:ext>
              </a:extLst>
            </p:cNvPr>
            <p:cNvCxnSpPr/>
            <p:nvPr/>
          </p:nvCxnSpPr>
          <p:spPr>
            <a:xfrm>
              <a:off x="203200" y="2819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78F30CD4-E679-DC02-8845-4673D27994CC}"/>
                </a:ext>
              </a:extLst>
            </p:cNvPr>
            <p:cNvCxnSpPr/>
            <p:nvPr/>
          </p:nvCxnSpPr>
          <p:spPr>
            <a:xfrm>
              <a:off x="203200" y="3022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2822B735-342B-6378-47A1-E6BF0984D43E}"/>
                </a:ext>
              </a:extLst>
            </p:cNvPr>
            <p:cNvCxnSpPr/>
            <p:nvPr/>
          </p:nvCxnSpPr>
          <p:spPr>
            <a:xfrm>
              <a:off x="203200" y="3225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047EFC56-4DF0-98C3-DBAE-E795B1347AEB}"/>
                </a:ext>
              </a:extLst>
            </p:cNvPr>
            <p:cNvCxnSpPr/>
            <p:nvPr/>
          </p:nvCxnSpPr>
          <p:spPr>
            <a:xfrm>
              <a:off x="203200" y="3429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3" name="Straight Connector 372">
              <a:extLst>
                <a:ext uri="{FF2B5EF4-FFF2-40B4-BE49-F238E27FC236}">
                  <a16:creationId xmlns:a16="http://schemas.microsoft.com/office/drawing/2014/main" id="{22DA30F6-A256-98B0-1B9C-CF0C6DC2BFBA}"/>
                </a:ext>
              </a:extLst>
            </p:cNvPr>
            <p:cNvCxnSpPr/>
            <p:nvPr/>
          </p:nvCxnSpPr>
          <p:spPr>
            <a:xfrm>
              <a:off x="203200" y="3632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4" name="Straight Connector 373">
              <a:extLst>
                <a:ext uri="{FF2B5EF4-FFF2-40B4-BE49-F238E27FC236}">
                  <a16:creationId xmlns:a16="http://schemas.microsoft.com/office/drawing/2014/main" id="{769C8018-70D7-6528-AD45-C9684836981D}"/>
                </a:ext>
              </a:extLst>
            </p:cNvPr>
            <p:cNvCxnSpPr/>
            <p:nvPr/>
          </p:nvCxnSpPr>
          <p:spPr>
            <a:xfrm>
              <a:off x="203200" y="3835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5" name="Straight Connector 374">
              <a:extLst>
                <a:ext uri="{FF2B5EF4-FFF2-40B4-BE49-F238E27FC236}">
                  <a16:creationId xmlns:a16="http://schemas.microsoft.com/office/drawing/2014/main" id="{22B97A86-4C6E-D712-EA4E-0C883F81556E}"/>
                </a:ext>
              </a:extLst>
            </p:cNvPr>
            <p:cNvCxnSpPr/>
            <p:nvPr/>
          </p:nvCxnSpPr>
          <p:spPr>
            <a:xfrm>
              <a:off x="203200" y="4038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Straight Connector 375">
              <a:extLst>
                <a:ext uri="{FF2B5EF4-FFF2-40B4-BE49-F238E27FC236}">
                  <a16:creationId xmlns:a16="http://schemas.microsoft.com/office/drawing/2014/main" id="{9AB33D42-8F07-D766-B1B1-ED59E94B8B39}"/>
                </a:ext>
              </a:extLst>
            </p:cNvPr>
            <p:cNvCxnSpPr/>
            <p:nvPr/>
          </p:nvCxnSpPr>
          <p:spPr>
            <a:xfrm>
              <a:off x="203200" y="4241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7" name="Straight Connector 376">
              <a:extLst>
                <a:ext uri="{FF2B5EF4-FFF2-40B4-BE49-F238E27FC236}">
                  <a16:creationId xmlns:a16="http://schemas.microsoft.com/office/drawing/2014/main" id="{33B8ADB1-5989-ECCE-B214-C609E488B875}"/>
                </a:ext>
              </a:extLst>
            </p:cNvPr>
            <p:cNvCxnSpPr/>
            <p:nvPr/>
          </p:nvCxnSpPr>
          <p:spPr>
            <a:xfrm>
              <a:off x="203200" y="4445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8" name="Straight Connector 377">
              <a:extLst>
                <a:ext uri="{FF2B5EF4-FFF2-40B4-BE49-F238E27FC236}">
                  <a16:creationId xmlns:a16="http://schemas.microsoft.com/office/drawing/2014/main" id="{73647A78-2465-BE80-4CB2-11438AD4FED6}"/>
                </a:ext>
              </a:extLst>
            </p:cNvPr>
            <p:cNvCxnSpPr/>
            <p:nvPr/>
          </p:nvCxnSpPr>
          <p:spPr>
            <a:xfrm>
              <a:off x="203200" y="4648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9" name="Straight Connector 378">
              <a:extLst>
                <a:ext uri="{FF2B5EF4-FFF2-40B4-BE49-F238E27FC236}">
                  <a16:creationId xmlns:a16="http://schemas.microsoft.com/office/drawing/2014/main" id="{A2477A41-ADB5-CED9-4A7B-D346C6AD359D}"/>
                </a:ext>
              </a:extLst>
            </p:cNvPr>
            <p:cNvCxnSpPr/>
            <p:nvPr/>
          </p:nvCxnSpPr>
          <p:spPr>
            <a:xfrm>
              <a:off x="203200" y="4851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0" name="Straight Connector 379">
              <a:extLst>
                <a:ext uri="{FF2B5EF4-FFF2-40B4-BE49-F238E27FC236}">
                  <a16:creationId xmlns:a16="http://schemas.microsoft.com/office/drawing/2014/main" id="{242F2E7F-9FD7-109D-37C7-F851609A5320}"/>
                </a:ext>
              </a:extLst>
            </p:cNvPr>
            <p:cNvCxnSpPr/>
            <p:nvPr/>
          </p:nvCxnSpPr>
          <p:spPr>
            <a:xfrm>
              <a:off x="203200" y="5054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3F6DC466-B938-9EDF-E341-74FA121D5179}"/>
                </a:ext>
              </a:extLst>
            </p:cNvPr>
            <p:cNvCxnSpPr/>
            <p:nvPr/>
          </p:nvCxnSpPr>
          <p:spPr>
            <a:xfrm>
              <a:off x="203200" y="5257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Straight Connector 396">
              <a:extLst>
                <a:ext uri="{FF2B5EF4-FFF2-40B4-BE49-F238E27FC236}">
                  <a16:creationId xmlns:a16="http://schemas.microsoft.com/office/drawing/2014/main" id="{2673C885-1424-6CBF-6BD6-6CAC4F06E93B}"/>
                </a:ext>
              </a:extLst>
            </p:cNvPr>
            <p:cNvCxnSpPr/>
            <p:nvPr/>
          </p:nvCxnSpPr>
          <p:spPr>
            <a:xfrm>
              <a:off x="203200" y="5461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8" name="Straight Connector 397">
              <a:extLst>
                <a:ext uri="{FF2B5EF4-FFF2-40B4-BE49-F238E27FC236}">
                  <a16:creationId xmlns:a16="http://schemas.microsoft.com/office/drawing/2014/main" id="{ABBDB58E-425F-B64B-DC02-69BAAD5537FA}"/>
                </a:ext>
              </a:extLst>
            </p:cNvPr>
            <p:cNvCxnSpPr/>
            <p:nvPr/>
          </p:nvCxnSpPr>
          <p:spPr>
            <a:xfrm>
              <a:off x="203200" y="5664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FBC55815-9925-C582-5129-ADDA959FF884}"/>
                </a:ext>
              </a:extLst>
            </p:cNvPr>
            <p:cNvCxnSpPr/>
            <p:nvPr/>
          </p:nvCxnSpPr>
          <p:spPr>
            <a:xfrm>
              <a:off x="203200" y="5867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5" name="Straight Connector 414">
              <a:extLst>
                <a:ext uri="{FF2B5EF4-FFF2-40B4-BE49-F238E27FC236}">
                  <a16:creationId xmlns:a16="http://schemas.microsoft.com/office/drawing/2014/main" id="{1FFA8E8D-9DDC-4AE6-3E6E-E068D354B41A}"/>
                </a:ext>
              </a:extLst>
            </p:cNvPr>
            <p:cNvCxnSpPr/>
            <p:nvPr/>
          </p:nvCxnSpPr>
          <p:spPr>
            <a:xfrm>
              <a:off x="203200" y="6070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3" name="Straight Connector 432">
              <a:extLst>
                <a:ext uri="{FF2B5EF4-FFF2-40B4-BE49-F238E27FC236}">
                  <a16:creationId xmlns:a16="http://schemas.microsoft.com/office/drawing/2014/main" id="{6C6198D9-BB30-B546-0FD7-708F6CFD4E05}"/>
                </a:ext>
              </a:extLst>
            </p:cNvPr>
            <p:cNvCxnSpPr/>
            <p:nvPr/>
          </p:nvCxnSpPr>
          <p:spPr>
            <a:xfrm>
              <a:off x="203200" y="6273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4" name="Straight Connector 433">
              <a:extLst>
                <a:ext uri="{FF2B5EF4-FFF2-40B4-BE49-F238E27FC236}">
                  <a16:creationId xmlns:a16="http://schemas.microsoft.com/office/drawing/2014/main" id="{83AC2CC8-37DD-6D32-0FC0-7E8185FF308E}"/>
                </a:ext>
              </a:extLst>
            </p:cNvPr>
            <p:cNvCxnSpPr/>
            <p:nvPr/>
          </p:nvCxnSpPr>
          <p:spPr>
            <a:xfrm>
              <a:off x="203200" y="6324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5" name="Straight Connector 434">
              <a:extLst>
                <a:ext uri="{FF2B5EF4-FFF2-40B4-BE49-F238E27FC236}">
                  <a16:creationId xmlns:a16="http://schemas.microsoft.com/office/drawing/2014/main" id="{C76C1BBB-1155-6BCB-A830-6FC97BF80614}"/>
                </a:ext>
              </a:extLst>
            </p:cNvPr>
            <p:cNvCxnSpPr/>
            <p:nvPr/>
          </p:nvCxnSpPr>
          <p:spPr>
            <a:xfrm>
              <a:off x="203200" y="6527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6" name="Straight Connector 435">
              <a:extLst>
                <a:ext uri="{FF2B5EF4-FFF2-40B4-BE49-F238E27FC236}">
                  <a16:creationId xmlns:a16="http://schemas.microsoft.com/office/drawing/2014/main" id="{D7FF3F20-114F-31D4-0B8D-6A8C8084C69B}"/>
                </a:ext>
              </a:extLst>
            </p:cNvPr>
            <p:cNvCxnSpPr/>
            <p:nvPr/>
          </p:nvCxnSpPr>
          <p:spPr>
            <a:xfrm>
              <a:off x="203200" y="6578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7" name="Straight Connector 436">
              <a:extLst>
                <a:ext uri="{FF2B5EF4-FFF2-40B4-BE49-F238E27FC236}">
                  <a16:creationId xmlns:a16="http://schemas.microsoft.com/office/drawing/2014/main" id="{3C119390-FC50-2B5E-E8CC-904165BC0158}"/>
                </a:ext>
              </a:extLst>
            </p:cNvPr>
            <p:cNvCxnSpPr/>
            <p:nvPr/>
          </p:nvCxnSpPr>
          <p:spPr>
            <a:xfrm>
              <a:off x="203200" y="6781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8" name="Straight Connector 437">
              <a:extLst>
                <a:ext uri="{FF2B5EF4-FFF2-40B4-BE49-F238E27FC236}">
                  <a16:creationId xmlns:a16="http://schemas.microsoft.com/office/drawing/2014/main" id="{F1FD15E1-63FC-CDC5-3B2D-4779E73850D6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4" name="Straight Connector 443">
              <a:extLst>
                <a:ext uri="{FF2B5EF4-FFF2-40B4-BE49-F238E27FC236}">
                  <a16:creationId xmlns:a16="http://schemas.microsoft.com/office/drawing/2014/main" id="{6D4C5821-B091-7194-C6C7-7C279C06B58A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0" name="Straight Connector 479">
              <a:extLst>
                <a:ext uri="{FF2B5EF4-FFF2-40B4-BE49-F238E27FC236}">
                  <a16:creationId xmlns:a16="http://schemas.microsoft.com/office/drawing/2014/main" id="{FBE23AC3-99BE-3FF2-67F3-681E6E54976F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1" name="Straight Connector 480">
              <a:extLst>
                <a:ext uri="{FF2B5EF4-FFF2-40B4-BE49-F238E27FC236}">
                  <a16:creationId xmlns:a16="http://schemas.microsoft.com/office/drawing/2014/main" id="{B92814F5-800B-7D26-DC1A-128AB3465438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2" name="Straight Connector 481">
              <a:extLst>
                <a:ext uri="{FF2B5EF4-FFF2-40B4-BE49-F238E27FC236}">
                  <a16:creationId xmlns:a16="http://schemas.microsoft.com/office/drawing/2014/main" id="{3094ABCC-D198-1C19-F99C-A49242D8E61D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3" name="Straight Connector 482">
              <a:extLst>
                <a:ext uri="{FF2B5EF4-FFF2-40B4-BE49-F238E27FC236}">
                  <a16:creationId xmlns:a16="http://schemas.microsoft.com/office/drawing/2014/main" id="{4594A92A-CFD7-9B15-3E05-F6D3FC1329D2}"/>
                </a:ext>
              </a:extLst>
            </p:cNvPr>
            <p:cNvCxnSpPr>
              <a:cxnSpLocks/>
            </p:cNvCxnSpPr>
            <p:nvPr/>
          </p:nvCxnSpPr>
          <p:spPr>
            <a:xfrm>
              <a:off x="1219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4" name="Straight Connector 483">
              <a:extLst>
                <a:ext uri="{FF2B5EF4-FFF2-40B4-BE49-F238E27FC236}">
                  <a16:creationId xmlns:a16="http://schemas.microsoft.com/office/drawing/2014/main" id="{699B5588-6A21-A6DC-5265-2F6A694EA99E}"/>
                </a:ext>
              </a:extLst>
            </p:cNvPr>
            <p:cNvCxnSpPr>
              <a:cxnSpLocks/>
            </p:cNvCxnSpPr>
            <p:nvPr/>
          </p:nvCxnSpPr>
          <p:spPr>
            <a:xfrm>
              <a:off x="1422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5" name="Straight Connector 484">
              <a:extLst>
                <a:ext uri="{FF2B5EF4-FFF2-40B4-BE49-F238E27FC236}">
                  <a16:creationId xmlns:a16="http://schemas.microsoft.com/office/drawing/2014/main" id="{15C6FF81-886C-85A3-74F3-FEA2D65411D9}"/>
                </a:ext>
              </a:extLst>
            </p:cNvPr>
            <p:cNvCxnSpPr>
              <a:cxnSpLocks/>
            </p:cNvCxnSpPr>
            <p:nvPr/>
          </p:nvCxnSpPr>
          <p:spPr>
            <a:xfrm>
              <a:off x="1625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6" name="Straight Connector 485">
              <a:extLst>
                <a:ext uri="{FF2B5EF4-FFF2-40B4-BE49-F238E27FC236}">
                  <a16:creationId xmlns:a16="http://schemas.microsoft.com/office/drawing/2014/main" id="{14435E9C-200D-C9D5-1C3E-84D7842FD739}"/>
                </a:ext>
              </a:extLst>
            </p:cNvPr>
            <p:cNvCxnSpPr>
              <a:cxnSpLocks/>
            </p:cNvCxnSpPr>
            <p:nvPr/>
          </p:nvCxnSpPr>
          <p:spPr>
            <a:xfrm>
              <a:off x="1828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7" name="Straight Connector 486">
              <a:extLst>
                <a:ext uri="{FF2B5EF4-FFF2-40B4-BE49-F238E27FC236}">
                  <a16:creationId xmlns:a16="http://schemas.microsoft.com/office/drawing/2014/main" id="{08C70336-CFF1-73E3-CC20-FF0B5F4F1B08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8" name="Straight Connector 487">
              <a:extLst>
                <a:ext uri="{FF2B5EF4-FFF2-40B4-BE49-F238E27FC236}">
                  <a16:creationId xmlns:a16="http://schemas.microsoft.com/office/drawing/2014/main" id="{990A9784-2128-3739-6828-0464B87B24B5}"/>
                </a:ext>
              </a:extLst>
            </p:cNvPr>
            <p:cNvCxnSpPr>
              <a:cxnSpLocks/>
            </p:cNvCxnSpPr>
            <p:nvPr/>
          </p:nvCxnSpPr>
          <p:spPr>
            <a:xfrm>
              <a:off x="2235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9" name="Straight Connector 488">
              <a:extLst>
                <a:ext uri="{FF2B5EF4-FFF2-40B4-BE49-F238E27FC236}">
                  <a16:creationId xmlns:a16="http://schemas.microsoft.com/office/drawing/2014/main" id="{7F6BBCAE-59FA-C39F-D856-F6C1B99357BD}"/>
                </a:ext>
              </a:extLst>
            </p:cNvPr>
            <p:cNvCxnSpPr>
              <a:cxnSpLocks/>
            </p:cNvCxnSpPr>
            <p:nvPr/>
          </p:nvCxnSpPr>
          <p:spPr>
            <a:xfrm>
              <a:off x="2438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0" name="Straight Connector 489">
              <a:extLst>
                <a:ext uri="{FF2B5EF4-FFF2-40B4-BE49-F238E27FC236}">
                  <a16:creationId xmlns:a16="http://schemas.microsoft.com/office/drawing/2014/main" id="{C7AE90AF-F2B3-2D98-9573-69E42B4F1180}"/>
                </a:ext>
              </a:extLst>
            </p:cNvPr>
            <p:cNvCxnSpPr>
              <a:cxnSpLocks/>
            </p:cNvCxnSpPr>
            <p:nvPr/>
          </p:nvCxnSpPr>
          <p:spPr>
            <a:xfrm>
              <a:off x="2641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1" name="Straight Connector 490">
              <a:extLst>
                <a:ext uri="{FF2B5EF4-FFF2-40B4-BE49-F238E27FC236}">
                  <a16:creationId xmlns:a16="http://schemas.microsoft.com/office/drawing/2014/main" id="{DD87DF0D-4B14-EAC2-7B33-EE2A7BBD2540}"/>
                </a:ext>
              </a:extLst>
            </p:cNvPr>
            <p:cNvCxnSpPr>
              <a:cxnSpLocks/>
            </p:cNvCxnSpPr>
            <p:nvPr/>
          </p:nvCxnSpPr>
          <p:spPr>
            <a:xfrm>
              <a:off x="2844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2" name="Straight Connector 491">
              <a:extLst>
                <a:ext uri="{FF2B5EF4-FFF2-40B4-BE49-F238E27FC236}">
                  <a16:creationId xmlns:a16="http://schemas.microsoft.com/office/drawing/2014/main" id="{1C50DBD5-B054-E2EF-8BD4-151AB42071B8}"/>
                </a:ext>
              </a:extLst>
            </p:cNvPr>
            <p:cNvCxnSpPr>
              <a:cxnSpLocks/>
            </p:cNvCxnSpPr>
            <p:nvPr/>
          </p:nvCxnSpPr>
          <p:spPr>
            <a:xfrm>
              <a:off x="3048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3" name="Straight Connector 492">
              <a:extLst>
                <a:ext uri="{FF2B5EF4-FFF2-40B4-BE49-F238E27FC236}">
                  <a16:creationId xmlns:a16="http://schemas.microsoft.com/office/drawing/2014/main" id="{4E2CDB4B-50EF-38DF-F894-51B55B068145}"/>
                </a:ext>
              </a:extLst>
            </p:cNvPr>
            <p:cNvCxnSpPr>
              <a:cxnSpLocks/>
            </p:cNvCxnSpPr>
            <p:nvPr/>
          </p:nvCxnSpPr>
          <p:spPr>
            <a:xfrm>
              <a:off x="3251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4" name="Straight Connector 493">
              <a:extLst>
                <a:ext uri="{FF2B5EF4-FFF2-40B4-BE49-F238E27FC236}">
                  <a16:creationId xmlns:a16="http://schemas.microsoft.com/office/drawing/2014/main" id="{C2B26D99-A049-647A-1B17-8A034D6FE107}"/>
                </a:ext>
              </a:extLst>
            </p:cNvPr>
            <p:cNvCxnSpPr>
              <a:cxnSpLocks/>
            </p:cNvCxnSpPr>
            <p:nvPr/>
          </p:nvCxnSpPr>
          <p:spPr>
            <a:xfrm>
              <a:off x="3454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5" name="Straight Connector 494">
              <a:extLst>
                <a:ext uri="{FF2B5EF4-FFF2-40B4-BE49-F238E27FC236}">
                  <a16:creationId xmlns:a16="http://schemas.microsoft.com/office/drawing/2014/main" id="{0ADE33D8-68EC-0B06-EF7C-DDDEBFFCF026}"/>
                </a:ext>
              </a:extLst>
            </p:cNvPr>
            <p:cNvCxnSpPr>
              <a:cxnSpLocks/>
            </p:cNvCxnSpPr>
            <p:nvPr/>
          </p:nvCxnSpPr>
          <p:spPr>
            <a:xfrm>
              <a:off x="3657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6" name="Straight Connector 495">
              <a:extLst>
                <a:ext uri="{FF2B5EF4-FFF2-40B4-BE49-F238E27FC236}">
                  <a16:creationId xmlns:a16="http://schemas.microsoft.com/office/drawing/2014/main" id="{8C975F1D-58DB-1F73-820F-063341C8B3A4}"/>
                </a:ext>
              </a:extLst>
            </p:cNvPr>
            <p:cNvCxnSpPr>
              <a:cxnSpLocks/>
            </p:cNvCxnSpPr>
            <p:nvPr/>
          </p:nvCxnSpPr>
          <p:spPr>
            <a:xfrm>
              <a:off x="3860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7" name="Straight Connector 496">
              <a:extLst>
                <a:ext uri="{FF2B5EF4-FFF2-40B4-BE49-F238E27FC236}">
                  <a16:creationId xmlns:a16="http://schemas.microsoft.com/office/drawing/2014/main" id="{A1720D14-CD68-4EF7-8D92-430AFCF6E707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8" name="Straight Connector 497">
              <a:extLst>
                <a:ext uri="{FF2B5EF4-FFF2-40B4-BE49-F238E27FC236}">
                  <a16:creationId xmlns:a16="http://schemas.microsoft.com/office/drawing/2014/main" id="{B3377738-122A-6110-7977-82DEC19ECB3F}"/>
                </a:ext>
              </a:extLst>
            </p:cNvPr>
            <p:cNvCxnSpPr>
              <a:cxnSpLocks/>
            </p:cNvCxnSpPr>
            <p:nvPr/>
          </p:nvCxnSpPr>
          <p:spPr>
            <a:xfrm>
              <a:off x="4267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9" name="Straight Connector 498">
              <a:extLst>
                <a:ext uri="{FF2B5EF4-FFF2-40B4-BE49-F238E27FC236}">
                  <a16:creationId xmlns:a16="http://schemas.microsoft.com/office/drawing/2014/main" id="{F8B67FA9-22C4-3435-7DBA-841F642507D1}"/>
                </a:ext>
              </a:extLst>
            </p:cNvPr>
            <p:cNvCxnSpPr>
              <a:cxnSpLocks/>
            </p:cNvCxnSpPr>
            <p:nvPr/>
          </p:nvCxnSpPr>
          <p:spPr>
            <a:xfrm>
              <a:off x="4470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0" name="Straight Connector 499">
              <a:extLst>
                <a:ext uri="{FF2B5EF4-FFF2-40B4-BE49-F238E27FC236}">
                  <a16:creationId xmlns:a16="http://schemas.microsoft.com/office/drawing/2014/main" id="{AA91DADF-F35A-8A55-9981-16E8F7F5B810}"/>
                </a:ext>
              </a:extLst>
            </p:cNvPr>
            <p:cNvCxnSpPr>
              <a:cxnSpLocks/>
            </p:cNvCxnSpPr>
            <p:nvPr/>
          </p:nvCxnSpPr>
          <p:spPr>
            <a:xfrm>
              <a:off x="4673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1" name="Straight Connector 500">
              <a:extLst>
                <a:ext uri="{FF2B5EF4-FFF2-40B4-BE49-F238E27FC236}">
                  <a16:creationId xmlns:a16="http://schemas.microsoft.com/office/drawing/2014/main" id="{143CF3EC-1756-8096-44F1-4764812323DA}"/>
                </a:ext>
              </a:extLst>
            </p:cNvPr>
            <p:cNvCxnSpPr>
              <a:cxnSpLocks/>
            </p:cNvCxnSpPr>
            <p:nvPr/>
          </p:nvCxnSpPr>
          <p:spPr>
            <a:xfrm>
              <a:off x="4876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2" name="Straight Connector 501">
              <a:extLst>
                <a:ext uri="{FF2B5EF4-FFF2-40B4-BE49-F238E27FC236}">
                  <a16:creationId xmlns:a16="http://schemas.microsoft.com/office/drawing/2014/main" id="{759E4C6F-BE3A-7877-DAD8-5A486EFDE192}"/>
                </a:ext>
              </a:extLst>
            </p:cNvPr>
            <p:cNvCxnSpPr>
              <a:cxnSpLocks/>
            </p:cNvCxnSpPr>
            <p:nvPr/>
          </p:nvCxnSpPr>
          <p:spPr>
            <a:xfrm>
              <a:off x="5080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3" name="Straight Connector 502">
              <a:extLst>
                <a:ext uri="{FF2B5EF4-FFF2-40B4-BE49-F238E27FC236}">
                  <a16:creationId xmlns:a16="http://schemas.microsoft.com/office/drawing/2014/main" id="{9AF57447-A323-C2EB-F5B2-D550B7A461A7}"/>
                </a:ext>
              </a:extLst>
            </p:cNvPr>
            <p:cNvCxnSpPr>
              <a:cxnSpLocks/>
            </p:cNvCxnSpPr>
            <p:nvPr/>
          </p:nvCxnSpPr>
          <p:spPr>
            <a:xfrm>
              <a:off x="5283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4" name="Straight Connector 503">
              <a:extLst>
                <a:ext uri="{FF2B5EF4-FFF2-40B4-BE49-F238E27FC236}">
                  <a16:creationId xmlns:a16="http://schemas.microsoft.com/office/drawing/2014/main" id="{0E5BD1EB-7705-B5A1-1493-C52EA398107A}"/>
                </a:ext>
              </a:extLst>
            </p:cNvPr>
            <p:cNvCxnSpPr>
              <a:cxnSpLocks/>
            </p:cNvCxnSpPr>
            <p:nvPr/>
          </p:nvCxnSpPr>
          <p:spPr>
            <a:xfrm>
              <a:off x="5486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5" name="Straight Connector 504">
              <a:extLst>
                <a:ext uri="{FF2B5EF4-FFF2-40B4-BE49-F238E27FC236}">
                  <a16:creationId xmlns:a16="http://schemas.microsoft.com/office/drawing/2014/main" id="{A8AA8222-A9C9-71B0-8874-95D6EDADCD98}"/>
                </a:ext>
              </a:extLst>
            </p:cNvPr>
            <p:cNvCxnSpPr>
              <a:cxnSpLocks/>
            </p:cNvCxnSpPr>
            <p:nvPr/>
          </p:nvCxnSpPr>
          <p:spPr>
            <a:xfrm>
              <a:off x="5689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6" name="Straight Connector 505">
              <a:extLst>
                <a:ext uri="{FF2B5EF4-FFF2-40B4-BE49-F238E27FC236}">
                  <a16:creationId xmlns:a16="http://schemas.microsoft.com/office/drawing/2014/main" id="{073D880D-CD09-CBB4-16BA-2A8E87CD9D84}"/>
                </a:ext>
              </a:extLst>
            </p:cNvPr>
            <p:cNvCxnSpPr>
              <a:cxnSpLocks/>
            </p:cNvCxnSpPr>
            <p:nvPr/>
          </p:nvCxnSpPr>
          <p:spPr>
            <a:xfrm>
              <a:off x="5892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7" name="Straight Connector 506">
              <a:extLst>
                <a:ext uri="{FF2B5EF4-FFF2-40B4-BE49-F238E27FC236}">
                  <a16:creationId xmlns:a16="http://schemas.microsoft.com/office/drawing/2014/main" id="{812866F3-44A8-3CEA-28D9-7AF496C04A2A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8" name="Straight Connector 507">
              <a:extLst>
                <a:ext uri="{FF2B5EF4-FFF2-40B4-BE49-F238E27FC236}">
                  <a16:creationId xmlns:a16="http://schemas.microsoft.com/office/drawing/2014/main" id="{F419295E-CDDB-9E97-8F28-F903EFD03208}"/>
                </a:ext>
              </a:extLst>
            </p:cNvPr>
            <p:cNvCxnSpPr>
              <a:cxnSpLocks/>
            </p:cNvCxnSpPr>
            <p:nvPr/>
          </p:nvCxnSpPr>
          <p:spPr>
            <a:xfrm>
              <a:off x="6299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9" name="Straight Connector 508">
              <a:extLst>
                <a:ext uri="{FF2B5EF4-FFF2-40B4-BE49-F238E27FC236}">
                  <a16:creationId xmlns:a16="http://schemas.microsoft.com/office/drawing/2014/main" id="{54B7287C-0431-4B10-1E6B-22F8C128B338}"/>
                </a:ext>
              </a:extLst>
            </p:cNvPr>
            <p:cNvCxnSpPr>
              <a:cxnSpLocks/>
            </p:cNvCxnSpPr>
            <p:nvPr/>
          </p:nvCxnSpPr>
          <p:spPr>
            <a:xfrm>
              <a:off x="6502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0" name="Straight Connector 509">
              <a:extLst>
                <a:ext uri="{FF2B5EF4-FFF2-40B4-BE49-F238E27FC236}">
                  <a16:creationId xmlns:a16="http://schemas.microsoft.com/office/drawing/2014/main" id="{3FE9B0CE-F112-12DC-9291-B7C599F9031F}"/>
                </a:ext>
              </a:extLst>
            </p:cNvPr>
            <p:cNvCxnSpPr>
              <a:cxnSpLocks/>
            </p:cNvCxnSpPr>
            <p:nvPr/>
          </p:nvCxnSpPr>
          <p:spPr>
            <a:xfrm>
              <a:off x="6705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1" name="Straight Connector 510">
              <a:extLst>
                <a:ext uri="{FF2B5EF4-FFF2-40B4-BE49-F238E27FC236}">
                  <a16:creationId xmlns:a16="http://schemas.microsoft.com/office/drawing/2014/main" id="{AC7A6729-E1FF-ADA9-5404-512BB851730C}"/>
                </a:ext>
              </a:extLst>
            </p:cNvPr>
            <p:cNvCxnSpPr>
              <a:cxnSpLocks/>
            </p:cNvCxnSpPr>
            <p:nvPr/>
          </p:nvCxnSpPr>
          <p:spPr>
            <a:xfrm>
              <a:off x="6908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2" name="Straight Connector 511">
              <a:extLst>
                <a:ext uri="{FF2B5EF4-FFF2-40B4-BE49-F238E27FC236}">
                  <a16:creationId xmlns:a16="http://schemas.microsoft.com/office/drawing/2014/main" id="{2E124A38-8DB4-882E-F91D-8E5F0F19E790}"/>
                </a:ext>
              </a:extLst>
            </p:cNvPr>
            <p:cNvCxnSpPr>
              <a:cxnSpLocks/>
            </p:cNvCxnSpPr>
            <p:nvPr/>
          </p:nvCxnSpPr>
          <p:spPr>
            <a:xfrm>
              <a:off x="7112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3" name="Straight Connector 512">
              <a:extLst>
                <a:ext uri="{FF2B5EF4-FFF2-40B4-BE49-F238E27FC236}">
                  <a16:creationId xmlns:a16="http://schemas.microsoft.com/office/drawing/2014/main" id="{387D883A-C569-9048-1102-2A4481F19B37}"/>
                </a:ext>
              </a:extLst>
            </p:cNvPr>
            <p:cNvCxnSpPr>
              <a:cxnSpLocks/>
            </p:cNvCxnSpPr>
            <p:nvPr/>
          </p:nvCxnSpPr>
          <p:spPr>
            <a:xfrm>
              <a:off x="7315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4" name="Straight Connector 513">
              <a:extLst>
                <a:ext uri="{FF2B5EF4-FFF2-40B4-BE49-F238E27FC236}">
                  <a16:creationId xmlns:a16="http://schemas.microsoft.com/office/drawing/2014/main" id="{64162DA4-1950-A179-F2ED-B50E9BA48A08}"/>
                </a:ext>
              </a:extLst>
            </p:cNvPr>
            <p:cNvCxnSpPr>
              <a:cxnSpLocks/>
            </p:cNvCxnSpPr>
            <p:nvPr/>
          </p:nvCxnSpPr>
          <p:spPr>
            <a:xfrm>
              <a:off x="7518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5" name="Straight Connector 514">
              <a:extLst>
                <a:ext uri="{FF2B5EF4-FFF2-40B4-BE49-F238E27FC236}">
                  <a16:creationId xmlns:a16="http://schemas.microsoft.com/office/drawing/2014/main" id="{7C8E0EA5-3EEA-1117-A686-2B01DA6D3C17}"/>
                </a:ext>
              </a:extLst>
            </p:cNvPr>
            <p:cNvCxnSpPr>
              <a:cxnSpLocks/>
            </p:cNvCxnSpPr>
            <p:nvPr/>
          </p:nvCxnSpPr>
          <p:spPr>
            <a:xfrm>
              <a:off x="7721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6" name="Straight Connector 515">
              <a:extLst>
                <a:ext uri="{FF2B5EF4-FFF2-40B4-BE49-F238E27FC236}">
                  <a16:creationId xmlns:a16="http://schemas.microsoft.com/office/drawing/2014/main" id="{57F3E21D-0683-5C73-B975-533264440FC3}"/>
                </a:ext>
              </a:extLst>
            </p:cNvPr>
            <p:cNvCxnSpPr>
              <a:cxnSpLocks/>
            </p:cNvCxnSpPr>
            <p:nvPr/>
          </p:nvCxnSpPr>
          <p:spPr>
            <a:xfrm>
              <a:off x="7924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7" name="Straight Connector 516">
              <a:extLst>
                <a:ext uri="{FF2B5EF4-FFF2-40B4-BE49-F238E27FC236}">
                  <a16:creationId xmlns:a16="http://schemas.microsoft.com/office/drawing/2014/main" id="{92F73360-9F43-3272-F218-F6DD824E0191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8" name="Straight Connector 517">
              <a:extLst>
                <a:ext uri="{FF2B5EF4-FFF2-40B4-BE49-F238E27FC236}">
                  <a16:creationId xmlns:a16="http://schemas.microsoft.com/office/drawing/2014/main" id="{0815A90B-9FFC-73FD-6C29-20CCE6A75CCC}"/>
                </a:ext>
              </a:extLst>
            </p:cNvPr>
            <p:cNvCxnSpPr>
              <a:cxnSpLocks/>
            </p:cNvCxnSpPr>
            <p:nvPr/>
          </p:nvCxnSpPr>
          <p:spPr>
            <a:xfrm>
              <a:off x="8331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9" name="Straight Connector 518">
              <a:extLst>
                <a:ext uri="{FF2B5EF4-FFF2-40B4-BE49-F238E27FC236}">
                  <a16:creationId xmlns:a16="http://schemas.microsoft.com/office/drawing/2014/main" id="{B9889978-8E24-F29B-3969-0C902E4E8981}"/>
                </a:ext>
              </a:extLst>
            </p:cNvPr>
            <p:cNvCxnSpPr>
              <a:cxnSpLocks/>
            </p:cNvCxnSpPr>
            <p:nvPr/>
          </p:nvCxnSpPr>
          <p:spPr>
            <a:xfrm>
              <a:off x="8534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0" name="Straight Connector 519">
              <a:extLst>
                <a:ext uri="{FF2B5EF4-FFF2-40B4-BE49-F238E27FC236}">
                  <a16:creationId xmlns:a16="http://schemas.microsoft.com/office/drawing/2014/main" id="{2ACD9AF2-6775-D81E-67C6-3FAE3A84D2F0}"/>
                </a:ext>
              </a:extLst>
            </p:cNvPr>
            <p:cNvCxnSpPr>
              <a:cxnSpLocks/>
            </p:cNvCxnSpPr>
            <p:nvPr/>
          </p:nvCxnSpPr>
          <p:spPr>
            <a:xfrm>
              <a:off x="8737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1" name="Straight Connector 520">
              <a:extLst>
                <a:ext uri="{FF2B5EF4-FFF2-40B4-BE49-F238E27FC236}">
                  <a16:creationId xmlns:a16="http://schemas.microsoft.com/office/drawing/2014/main" id="{A24E4C60-5323-F4AE-D168-9648B906A0FE}"/>
                </a:ext>
              </a:extLst>
            </p:cNvPr>
            <p:cNvCxnSpPr>
              <a:cxnSpLocks/>
            </p:cNvCxnSpPr>
            <p:nvPr/>
          </p:nvCxnSpPr>
          <p:spPr>
            <a:xfrm>
              <a:off x="8940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2" name="Straight Connector 521">
              <a:extLst>
                <a:ext uri="{FF2B5EF4-FFF2-40B4-BE49-F238E27FC236}">
                  <a16:creationId xmlns:a16="http://schemas.microsoft.com/office/drawing/2014/main" id="{E50AB0FC-534C-D3DB-E0BD-D115C26EAEF6}"/>
                </a:ext>
              </a:extLst>
            </p:cNvPr>
            <p:cNvCxnSpPr>
              <a:cxnSpLocks/>
            </p:cNvCxnSpPr>
            <p:nvPr/>
          </p:nvCxnSpPr>
          <p:spPr>
            <a:xfrm>
              <a:off x="9144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3" name="Straight Connector 522">
              <a:extLst>
                <a:ext uri="{FF2B5EF4-FFF2-40B4-BE49-F238E27FC236}">
                  <a16:creationId xmlns:a16="http://schemas.microsoft.com/office/drawing/2014/main" id="{F52C71A5-BAD9-6299-F2CC-A3092D8AF72C}"/>
                </a:ext>
              </a:extLst>
            </p:cNvPr>
            <p:cNvCxnSpPr>
              <a:cxnSpLocks/>
            </p:cNvCxnSpPr>
            <p:nvPr/>
          </p:nvCxnSpPr>
          <p:spPr>
            <a:xfrm>
              <a:off x="9347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4" name="Straight Connector 523">
              <a:extLst>
                <a:ext uri="{FF2B5EF4-FFF2-40B4-BE49-F238E27FC236}">
                  <a16:creationId xmlns:a16="http://schemas.microsoft.com/office/drawing/2014/main" id="{958DA808-DB1C-A5DF-786E-35DA879E01B2}"/>
                </a:ext>
              </a:extLst>
            </p:cNvPr>
            <p:cNvCxnSpPr>
              <a:cxnSpLocks/>
            </p:cNvCxnSpPr>
            <p:nvPr/>
          </p:nvCxnSpPr>
          <p:spPr>
            <a:xfrm>
              <a:off x="9550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5" name="Straight Connector 524">
              <a:extLst>
                <a:ext uri="{FF2B5EF4-FFF2-40B4-BE49-F238E27FC236}">
                  <a16:creationId xmlns:a16="http://schemas.microsoft.com/office/drawing/2014/main" id="{0D2A8C18-9FE8-4DB1-5D24-938D1CBE0532}"/>
                </a:ext>
              </a:extLst>
            </p:cNvPr>
            <p:cNvCxnSpPr>
              <a:cxnSpLocks/>
            </p:cNvCxnSpPr>
            <p:nvPr/>
          </p:nvCxnSpPr>
          <p:spPr>
            <a:xfrm>
              <a:off x="9753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6" name="Straight Connector 525">
              <a:extLst>
                <a:ext uri="{FF2B5EF4-FFF2-40B4-BE49-F238E27FC236}">
                  <a16:creationId xmlns:a16="http://schemas.microsoft.com/office/drawing/2014/main" id="{81FE3DA7-A8A6-A2AA-0244-F8D144F2DFE4}"/>
                </a:ext>
              </a:extLst>
            </p:cNvPr>
            <p:cNvCxnSpPr>
              <a:cxnSpLocks/>
            </p:cNvCxnSpPr>
            <p:nvPr/>
          </p:nvCxnSpPr>
          <p:spPr>
            <a:xfrm>
              <a:off x="9956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7" name="Straight Connector 526">
              <a:extLst>
                <a:ext uri="{FF2B5EF4-FFF2-40B4-BE49-F238E27FC236}">
                  <a16:creationId xmlns:a16="http://schemas.microsoft.com/office/drawing/2014/main" id="{7A0DDFF9-3FDE-2371-6A58-6817E418C63E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8" name="Straight Connector 527">
              <a:extLst>
                <a:ext uri="{FF2B5EF4-FFF2-40B4-BE49-F238E27FC236}">
                  <a16:creationId xmlns:a16="http://schemas.microsoft.com/office/drawing/2014/main" id="{1056F508-FEDC-9851-D9E6-680BFAE34424}"/>
                </a:ext>
              </a:extLst>
            </p:cNvPr>
            <p:cNvCxnSpPr>
              <a:cxnSpLocks/>
            </p:cNvCxnSpPr>
            <p:nvPr/>
          </p:nvCxnSpPr>
          <p:spPr>
            <a:xfrm>
              <a:off x="10363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9" name="Straight Connector 528">
              <a:extLst>
                <a:ext uri="{FF2B5EF4-FFF2-40B4-BE49-F238E27FC236}">
                  <a16:creationId xmlns:a16="http://schemas.microsoft.com/office/drawing/2014/main" id="{EA7FC7C6-6083-F3E9-DA92-FD5975FDE657}"/>
                </a:ext>
              </a:extLst>
            </p:cNvPr>
            <p:cNvCxnSpPr>
              <a:cxnSpLocks/>
            </p:cNvCxnSpPr>
            <p:nvPr/>
          </p:nvCxnSpPr>
          <p:spPr>
            <a:xfrm>
              <a:off x="10566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0" name="Straight Connector 529">
              <a:extLst>
                <a:ext uri="{FF2B5EF4-FFF2-40B4-BE49-F238E27FC236}">
                  <a16:creationId xmlns:a16="http://schemas.microsoft.com/office/drawing/2014/main" id="{0938D311-D0F9-2FE8-416D-8A0E4AEE5202}"/>
                </a:ext>
              </a:extLst>
            </p:cNvPr>
            <p:cNvCxnSpPr>
              <a:cxnSpLocks/>
            </p:cNvCxnSpPr>
            <p:nvPr/>
          </p:nvCxnSpPr>
          <p:spPr>
            <a:xfrm>
              <a:off x="10769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1" name="Straight Connector 530">
              <a:extLst>
                <a:ext uri="{FF2B5EF4-FFF2-40B4-BE49-F238E27FC236}">
                  <a16:creationId xmlns:a16="http://schemas.microsoft.com/office/drawing/2014/main" id="{89DC6F78-7566-B6EC-D723-6968A570FA85}"/>
                </a:ext>
              </a:extLst>
            </p:cNvPr>
            <p:cNvCxnSpPr>
              <a:cxnSpLocks/>
            </p:cNvCxnSpPr>
            <p:nvPr/>
          </p:nvCxnSpPr>
          <p:spPr>
            <a:xfrm>
              <a:off x="10972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2" name="Straight Connector 531">
              <a:extLst>
                <a:ext uri="{FF2B5EF4-FFF2-40B4-BE49-F238E27FC236}">
                  <a16:creationId xmlns:a16="http://schemas.microsoft.com/office/drawing/2014/main" id="{04F4395C-D536-7412-DA27-27CB4D046A4F}"/>
                </a:ext>
              </a:extLst>
            </p:cNvPr>
            <p:cNvCxnSpPr>
              <a:cxnSpLocks/>
            </p:cNvCxnSpPr>
            <p:nvPr/>
          </p:nvCxnSpPr>
          <p:spPr>
            <a:xfrm>
              <a:off x="11176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3" name="Straight Connector 532">
              <a:extLst>
                <a:ext uri="{FF2B5EF4-FFF2-40B4-BE49-F238E27FC236}">
                  <a16:creationId xmlns:a16="http://schemas.microsoft.com/office/drawing/2014/main" id="{A56B4B0D-3455-81B5-8078-7B59160A4A7E}"/>
                </a:ext>
              </a:extLst>
            </p:cNvPr>
            <p:cNvCxnSpPr>
              <a:cxnSpLocks/>
            </p:cNvCxnSpPr>
            <p:nvPr/>
          </p:nvCxnSpPr>
          <p:spPr>
            <a:xfrm>
              <a:off x="11379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4" name="Straight Connector 533">
              <a:extLst>
                <a:ext uri="{FF2B5EF4-FFF2-40B4-BE49-F238E27FC236}">
                  <a16:creationId xmlns:a16="http://schemas.microsoft.com/office/drawing/2014/main" id="{71C11C32-989E-46E1-81D3-E3540A5E1417}"/>
                </a:ext>
              </a:extLst>
            </p:cNvPr>
            <p:cNvCxnSpPr>
              <a:cxnSpLocks/>
            </p:cNvCxnSpPr>
            <p:nvPr/>
          </p:nvCxnSpPr>
          <p:spPr>
            <a:xfrm>
              <a:off x="11582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5" name="Straight Connector 534">
              <a:extLst>
                <a:ext uri="{FF2B5EF4-FFF2-40B4-BE49-F238E27FC236}">
                  <a16:creationId xmlns:a16="http://schemas.microsoft.com/office/drawing/2014/main" id="{3B7FB739-3C16-D6AE-B634-448D38364454}"/>
                </a:ext>
              </a:extLst>
            </p:cNvPr>
            <p:cNvCxnSpPr>
              <a:cxnSpLocks/>
            </p:cNvCxnSpPr>
            <p:nvPr/>
          </p:nvCxnSpPr>
          <p:spPr>
            <a:xfrm>
              <a:off x="11785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6" name="Straight Connector 535">
              <a:extLst>
                <a:ext uri="{FF2B5EF4-FFF2-40B4-BE49-F238E27FC236}">
                  <a16:creationId xmlns:a16="http://schemas.microsoft.com/office/drawing/2014/main" id="{001067A1-DCFF-A844-2E14-B8C932B38B48}"/>
                </a:ext>
              </a:extLst>
            </p:cNvPr>
            <p:cNvCxnSpPr>
              <a:cxnSpLocks/>
            </p:cNvCxnSpPr>
            <p:nvPr/>
          </p:nvCxnSpPr>
          <p:spPr>
            <a:xfrm>
              <a:off x="11988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9" name="Master Title Placeholder">
            <a:extLst>
              <a:ext uri="{FF2B5EF4-FFF2-40B4-BE49-F238E27FC236}">
                <a16:creationId xmlns:a16="http://schemas.microsoft.com/office/drawing/2014/main" id="{C5F0EFB3-EE4E-0B07-F454-E6D44406F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1" y="332768"/>
            <a:ext cx="11088001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defTabSz="971976"/>
            <a:r>
              <a:rPr lang="en-US" dirty="0"/>
              <a:t>This is the title in 36pt</a:t>
            </a:r>
          </a:p>
        </p:txBody>
      </p:sp>
      <p:sp>
        <p:nvSpPr>
          <p:cNvPr id="2" name="empower - DO NOT DELETE!!!">
            <a:extLst>
              <a:ext uri="{FF2B5EF4-FFF2-40B4-BE49-F238E27FC236}">
                <a16:creationId xmlns:a16="http://schemas.microsoft.com/office/drawing/2014/main" id="{978CAA9E-CAAE-E314-D023-855631DDB452}"/>
              </a:ext>
            </a:extLst>
          </p:cNvPr>
          <p:cNvSpPr/>
          <p:nvPr>
            <p:custDataLst>
              <p:tags r:id="rId6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3200" tIns="203200" rIns="203200" bIns="203200" rtlCol="0" anchor="ctr"/>
          <a:lstStyle/>
          <a:p>
            <a:pPr lvl="0" algn="ctr" defTabSz="485988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83702D8-C787-BB6D-E660-FE3EF595572A}"/>
              </a:ext>
            </a:extLst>
          </p:cNvPr>
          <p:cNvSpPr txBox="1">
            <a:spLocks/>
          </p:cNvSpPr>
          <p:nvPr/>
        </p:nvSpPr>
        <p:spPr>
          <a:xfrm>
            <a:off x="11233601" y="6525346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US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US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5D2F2F-07C4-15CA-080C-498BFCC40B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001" y="1700808"/>
            <a:ext cx="11088001" cy="43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Body heading blue</a:t>
            </a:r>
          </a:p>
          <a:p>
            <a:pPr lvl="5"/>
            <a:r>
              <a:rPr lang="en-US" dirty="0"/>
              <a:t>Body heading light blue</a:t>
            </a:r>
          </a:p>
          <a:p>
            <a:pPr lvl="6"/>
            <a:r>
              <a:rPr lang="en-US" dirty="0"/>
              <a:t>Numbered</a:t>
            </a:r>
          </a:p>
          <a:p>
            <a:pPr lvl="7"/>
            <a:r>
              <a:rPr lang="en-US" dirty="0"/>
              <a:t>Numbered sub</a:t>
            </a:r>
          </a:p>
          <a:p>
            <a:pPr lvl="8"/>
            <a:r>
              <a:rPr lang="en-US" dirty="0"/>
              <a:t>Ninth level similar to subtitle</a:t>
            </a: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7E20D2EC-CDD4-6ACF-993E-65381BD1BF63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3200" tIns="203200" rIns="203200" bIns="203200" rtlCol="0" anchor="ctr"/>
          <a:lstStyle/>
          <a:p>
            <a:pPr lvl="0" algn="ctr" defTabSz="485988">
              <a:lnSpc>
                <a:spcPct val="100000"/>
              </a:lnSpc>
              <a:spcAft>
                <a:spcPts val="0"/>
              </a:spcAft>
            </a:pPr>
            <a:endParaRPr lang="en-US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101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18" r:id="rId2"/>
    <p:sldLayoutId id="2147483741" r:id="rId3"/>
    <p:sldLayoutId id="2147483765" r:id="rId4"/>
    <p:sldLayoutId id="2147483729" r:id="rId5"/>
    <p:sldLayoutId id="2147483753" r:id="rId6"/>
    <p:sldLayoutId id="2147483717" r:id="rId7"/>
    <p:sldLayoutId id="2147483739" r:id="rId8"/>
    <p:sldLayoutId id="2147483766" r:id="rId9"/>
    <p:sldLayoutId id="2147483760" r:id="rId10"/>
    <p:sldLayoutId id="2147483721" r:id="rId11"/>
    <p:sldLayoutId id="2147483742" r:id="rId12"/>
    <p:sldLayoutId id="2147483767" r:id="rId13"/>
    <p:sldLayoutId id="2147483731" r:id="rId14"/>
    <p:sldLayoutId id="2147483754" r:id="rId15"/>
    <p:sldLayoutId id="2147483719" r:id="rId16"/>
    <p:sldLayoutId id="2147483743" r:id="rId17"/>
    <p:sldLayoutId id="2147483768" r:id="rId18"/>
    <p:sldLayoutId id="2147483730" r:id="rId19"/>
    <p:sldLayoutId id="2147483749" r:id="rId20"/>
    <p:sldLayoutId id="2147483711" r:id="rId21"/>
    <p:sldLayoutId id="2147483732" r:id="rId22"/>
    <p:sldLayoutId id="2147483755" r:id="rId23"/>
    <p:sldLayoutId id="2147483722" r:id="rId24"/>
    <p:sldLayoutId id="2147483744" r:id="rId25"/>
    <p:sldLayoutId id="2147483710" r:id="rId26"/>
    <p:sldLayoutId id="2147483733" r:id="rId27"/>
    <p:sldLayoutId id="2147483756" r:id="rId28"/>
    <p:sldLayoutId id="2147483720" r:id="rId29"/>
    <p:sldLayoutId id="2147483734" r:id="rId30"/>
    <p:sldLayoutId id="2147483761" r:id="rId31"/>
    <p:sldLayoutId id="2147483723" r:id="rId32"/>
    <p:sldLayoutId id="2147483745" r:id="rId33"/>
    <p:sldLayoutId id="2147483712" r:id="rId34"/>
    <p:sldLayoutId id="2147483735" r:id="rId35"/>
    <p:sldLayoutId id="2147483757" r:id="rId36"/>
    <p:sldLayoutId id="2147483724" r:id="rId37"/>
    <p:sldLayoutId id="2147483746" r:id="rId38"/>
    <p:sldLayoutId id="2147483769" r:id="rId39"/>
    <p:sldLayoutId id="2147483725" r:id="rId40"/>
    <p:sldLayoutId id="2147483750" r:id="rId41"/>
    <p:sldLayoutId id="2147483713" r:id="rId42"/>
    <p:sldLayoutId id="2147483736" r:id="rId43"/>
    <p:sldLayoutId id="2147483762" r:id="rId44"/>
    <p:sldLayoutId id="2147483726" r:id="rId45"/>
    <p:sldLayoutId id="2147483747" r:id="rId46"/>
    <p:sldLayoutId id="2147483714" r:id="rId47"/>
    <p:sldLayoutId id="2147483737" r:id="rId48"/>
    <p:sldLayoutId id="2147483758" r:id="rId49"/>
    <p:sldLayoutId id="2147483715" r:id="rId50"/>
    <p:sldLayoutId id="2147483740" r:id="rId51"/>
    <p:sldLayoutId id="2147483763" r:id="rId52"/>
    <p:sldLayoutId id="2147483727" r:id="rId53"/>
    <p:sldLayoutId id="2147483751" r:id="rId54"/>
    <p:sldLayoutId id="2147483716" r:id="rId55"/>
    <p:sldLayoutId id="2147483738" r:id="rId56"/>
    <p:sldLayoutId id="2147483759" r:id="rId57"/>
    <p:sldLayoutId id="2147483728" r:id="rId58"/>
    <p:sldLayoutId id="2147483748" r:id="rId59"/>
    <p:sldLayoutId id="2147483764" r:id="rId60"/>
  </p:sldLayoutIdLst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p15="http://schemas.microsoft.com/office/powerpoint/2012/main" xmlns:a14="http://schemas.microsoft.com/office/drawing/2010/main" xmlns:a16="http://schemas.microsoft.com/office/drawing/2014/main" xmlns="">
      <p:transition spd="med"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lang="en-US" sz="3600" b="0" i="0" kern="1200" spc="0" baseline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203195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51994" indent="-251994" algn="l" defTabSz="203195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503987" indent="-251994" algn="l" defTabSz="203195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lang="en-US" sz="18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755981" indent="-251994" algn="l" defTabSz="203195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lang="en-US" sz="18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203195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US" sz="2000" b="1" kern="1200" baseline="0" dirty="0">
          <a:solidFill>
            <a:schemeClr val="accent1"/>
          </a:solidFill>
          <a:latin typeface="+mj-lt"/>
          <a:ea typeface="+mn-ea"/>
          <a:cs typeface="+mn-cs"/>
        </a:defRPr>
      </a:lvl5pPr>
      <a:lvl6pPr marL="0" indent="0" algn="l" defTabSz="203195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US" sz="2000" b="1" kern="1200" baseline="0" noProof="0" dirty="0">
          <a:solidFill>
            <a:schemeClr val="accent2"/>
          </a:solidFill>
          <a:latin typeface="+mj-lt"/>
          <a:ea typeface="+mn-ea"/>
          <a:cs typeface="+mn-cs"/>
        </a:defRPr>
      </a:lvl6pPr>
      <a:lvl7pPr marL="250819" indent="-250819" algn="l" defTabSz="203195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Font typeface="+mj-lt"/>
        <a:buAutoNum type="arabicPeriod"/>
        <a:defRPr lang="en-US" sz="1800" b="0" kern="1200" baseline="0" noProof="0" dirty="0">
          <a:solidFill>
            <a:schemeClr val="accent1"/>
          </a:solidFill>
          <a:latin typeface="+mj-lt"/>
          <a:ea typeface="+mn-ea"/>
          <a:cs typeface="+mn-cs"/>
        </a:defRPr>
      </a:lvl7pPr>
      <a:lvl8pPr marL="503987" indent="-251994" algn="l" defTabSz="203195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Font typeface="+mj-lt"/>
        <a:buAutoNum type="alphaLcParenR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03195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US" sz="2000" kern="1200" baseline="0" noProof="0" dirty="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lvl1pPr marL="0" indent="0" algn="l" defTabSz="203195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03195" indent="-203195" algn="l" defTabSz="203195" rtl="0" eaLnBrk="1" latinLnBrk="0" hangingPunct="1">
        <a:lnSpc>
          <a:spcPts val="24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Char char="§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406390" indent="-203195" algn="l" defTabSz="203195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lang="en-US" sz="18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09585" indent="-203195" algn="l" defTabSz="203195" rtl="0" eaLnBrk="1" latinLnBrk="0" hangingPunct="1">
        <a:lnSpc>
          <a:spcPts val="2000"/>
        </a:lnSpc>
        <a:spcBef>
          <a:spcPts val="0"/>
        </a:spcBef>
        <a:spcAft>
          <a:spcPts val="400"/>
        </a:spcAft>
        <a:buFont typeface="Symbol" panose="05050102010706020507" pitchFamily="18" charset="2"/>
        <a:buChar char="-"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203195" rtl="0" eaLnBrk="1" latinLnBrk="0" hangingPunct="1">
        <a:lnSpc>
          <a:spcPts val="2000"/>
        </a:lnSpc>
        <a:spcBef>
          <a:spcPts val="0"/>
        </a:spcBef>
        <a:spcAft>
          <a:spcPts val="400"/>
        </a:spcAft>
        <a:buFontTx/>
        <a:buNone/>
        <a:defRPr lang="en-US" sz="14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406390" indent="-406390" algn="l" defTabSz="203195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 typeface="+mj-lt"/>
        <a:buAutoNum type="arabicPeriod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03195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Tx/>
        <a:buNone/>
        <a:defRPr lang="en-US" sz="1800" b="0" kern="1200" baseline="0" noProof="0" dirty="0">
          <a:solidFill>
            <a:schemeClr val="accent1"/>
          </a:solidFill>
          <a:latin typeface="+mj-lt"/>
          <a:ea typeface="+mn-ea"/>
          <a:cs typeface="+mn-cs"/>
        </a:defRPr>
      </a:lvl7pPr>
      <a:lvl8pPr marL="0" indent="0" algn="l" defTabSz="203195" rtl="0" eaLnBrk="1" latinLnBrk="0" hangingPunct="1">
        <a:lnSpc>
          <a:spcPts val="3200"/>
        </a:lnSpc>
        <a:spcBef>
          <a:spcPts val="0"/>
        </a:spcBef>
        <a:spcAft>
          <a:spcPts val="1600"/>
        </a:spcAft>
        <a:buFontTx/>
        <a:buNone/>
        <a:defRPr lang="en-US" sz="24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03195" rtl="0" eaLnBrk="1" latinLnBrk="0" hangingPunct="1">
        <a:lnSpc>
          <a:spcPts val="4000"/>
        </a:lnSpc>
        <a:spcBef>
          <a:spcPts val="1600"/>
        </a:spcBef>
        <a:spcAft>
          <a:spcPts val="1600"/>
        </a:spcAft>
        <a:buFontTx/>
        <a:buNone/>
        <a:defRPr lang="en-US" sz="3600" kern="1200" baseline="0" noProof="0" dirty="0">
          <a:solidFill>
            <a:schemeClr val="accent1"/>
          </a:solidFill>
          <a:latin typeface="+mj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47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7" orient="horz" pos="1071" userDrawn="1">
          <p15:clr>
            <a:srgbClr val="F26B43"/>
          </p15:clr>
        </p15:guide>
        <p15:guide id="8" orient="horz" pos="527" userDrawn="1">
          <p15:clr>
            <a:srgbClr val="5ACBF0"/>
          </p15:clr>
        </p15:guide>
        <p15:guide id="9" pos="7333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3" name="Additional Element concept" hidden="1">
            <a:extLst>
              <a:ext uri="{FF2B5EF4-FFF2-40B4-BE49-F238E27FC236}">
                <a16:creationId xmlns:a16="http://schemas.microsoft.com/office/drawing/2014/main" id="{3CAB6135-C290-663C-9345-16E108620336}"/>
              </a:ext>
            </a:extLst>
          </p:cNvPr>
          <p:cNvGrpSpPr/>
          <p:nvPr/>
        </p:nvGrpSpPr>
        <p:grpSpPr>
          <a:xfrm>
            <a:off x="609600" y="76200"/>
            <a:ext cx="10972800" cy="6705600"/>
            <a:chOff x="609600" y="76200"/>
            <a:chExt cx="10972800" cy="6705600"/>
          </a:xfrm>
        </p:grpSpPr>
        <p:sp>
          <p:nvSpPr>
            <p:cNvPr id="665" name="Page / Seite Nennfeld" hidden="1">
              <a:extLst>
                <a:ext uri="{FF2B5EF4-FFF2-40B4-BE49-F238E27FC236}">
                  <a16:creationId xmlns:a16="http://schemas.microsoft.com/office/drawing/2014/main" id="{7CD9DD86-11AE-049F-4411-63D077925911}"/>
                </a:ext>
              </a:extLst>
            </p:cNvPr>
            <p:cNvSpPr/>
            <p:nvPr/>
          </p:nvSpPr>
          <p:spPr>
            <a:xfrm>
              <a:off x="10160000" y="6578600"/>
              <a:ext cx="1219200" cy="203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/>
            <a:lstStyle/>
            <a:p>
              <a:pPr algn="r" defTabSz="203200">
                <a:lnSpc>
                  <a:spcPts val="1200"/>
                </a:lnSpc>
                <a:spcAft>
                  <a:spcPts val="400"/>
                </a:spcAft>
              </a:pPr>
              <a:r>
                <a:rPr lang="en-US" sz="900" baseline="0" dirty="0">
                  <a:solidFill>
                    <a:schemeClr val="tx1"/>
                  </a:solidFill>
                </a:rPr>
                <a:t>Page / </a:t>
              </a:r>
              <a:r>
                <a:rPr lang="en-US" sz="900" baseline="0" dirty="0" err="1">
                  <a:solidFill>
                    <a:schemeClr val="tx1"/>
                  </a:solidFill>
                </a:rPr>
                <a:t>Seite</a:t>
              </a:r>
              <a:endParaRPr lang="en-US" sz="900" baseline="0" dirty="0">
                <a:solidFill>
                  <a:schemeClr val="tx1"/>
                </a:solidFill>
              </a:endParaRPr>
            </a:p>
          </p:txBody>
        </p:sp>
        <p:sp>
          <p:nvSpPr>
            <p:cNvPr id="666" name="Confidential Field" hidden="1">
              <a:extLst>
                <a:ext uri="{FF2B5EF4-FFF2-40B4-BE49-F238E27FC236}">
                  <a16:creationId xmlns:a16="http://schemas.microsoft.com/office/drawing/2014/main" id="{ADE8244B-C860-A752-2444-B6AE0E542F15}"/>
                </a:ext>
              </a:extLst>
            </p:cNvPr>
            <p:cNvSpPr/>
            <p:nvPr/>
          </p:nvSpPr>
          <p:spPr>
            <a:xfrm>
              <a:off x="4470400" y="6578600"/>
              <a:ext cx="3251200" cy="203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/>
            <a:lstStyle/>
            <a:p>
              <a:pPr algn="ctr" defTabSz="203200">
                <a:lnSpc>
                  <a:spcPts val="1200"/>
                </a:lnSpc>
                <a:spcAft>
                  <a:spcPts val="400"/>
                </a:spcAft>
              </a:pPr>
              <a:r>
                <a:rPr lang="en-US" sz="900" baseline="0" dirty="0">
                  <a:solidFill>
                    <a:schemeClr val="tx1"/>
                  </a:solidFill>
                </a:rPr>
                <a:t>Confidential</a:t>
              </a:r>
            </a:p>
          </p:txBody>
        </p:sp>
        <p:sp>
          <p:nvSpPr>
            <p:cNvPr id="669" name="Footnote" hidden="1">
              <a:extLst>
                <a:ext uri="{FF2B5EF4-FFF2-40B4-BE49-F238E27FC236}">
                  <a16:creationId xmlns:a16="http://schemas.microsoft.com/office/drawing/2014/main" id="{2F0FFB9C-ECFB-EAB1-4C0A-6FF74BCA4EA9}"/>
                </a:ext>
              </a:extLst>
            </p:cNvPr>
            <p:cNvSpPr txBox="1"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609600" y="6324600"/>
              <a:ext cx="9144000" cy="203200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 anchorCtr="0">
              <a:noAutofit/>
            </a:bodyPr>
            <a:lstStyle/>
            <a:p>
              <a:pPr eaLnBrk="0" hangingPunct="0">
                <a:lnSpc>
                  <a:spcPts val="1200"/>
                </a:lnSpc>
                <a:buClr>
                  <a:schemeClr val="accent2"/>
                </a:buClr>
                <a:buFont typeface="Wingdings" pitchFamily="2" charset="2"/>
                <a:buNone/>
                <a:defRPr/>
              </a:pPr>
              <a:r>
                <a:rPr lang="en-US" altLang="ko-KR" sz="900" kern="0"/>
                <a:t>Footnote/Source: Insert information here</a:t>
              </a:r>
              <a:endParaRPr lang="en-US" altLang="ko-KR" sz="900" kern="0" dirty="0"/>
            </a:p>
          </p:txBody>
        </p:sp>
        <p:sp>
          <p:nvSpPr>
            <p:cNvPr id="670" name="Breadrump" hidden="1">
              <a:extLst>
                <a:ext uri="{FF2B5EF4-FFF2-40B4-BE49-F238E27FC236}">
                  <a16:creationId xmlns:a16="http://schemas.microsoft.com/office/drawing/2014/main" id="{3EA69488-F646-6AB9-FF03-F551E769852D}"/>
                </a:ext>
              </a:extLst>
            </p:cNvPr>
            <p:cNvSpPr txBox="1"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609600" y="76200"/>
              <a:ext cx="5486400" cy="203200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 anchorCtr="0">
              <a:noAutofit/>
            </a:bodyPr>
            <a:lstStyle/>
            <a:p>
              <a:pPr eaLnBrk="0" hangingPunct="0">
                <a:lnSpc>
                  <a:spcPts val="1200"/>
                </a:lnSpc>
                <a:buClr>
                  <a:schemeClr val="accent2"/>
                </a:buClr>
                <a:buFont typeface="Wingdings" pitchFamily="2" charset="2"/>
                <a:buNone/>
                <a:defRPr/>
              </a:pPr>
              <a:r>
                <a:rPr lang="en-US" altLang="ko-KR" sz="900" kern="0"/>
                <a:t>Breadcrump/ Navigation</a:t>
              </a:r>
              <a:endParaRPr lang="en-US" altLang="ko-KR" sz="900" kern="0" dirty="0"/>
            </a:p>
          </p:txBody>
        </p:sp>
        <p:sp>
          <p:nvSpPr>
            <p:cNvPr id="671" name="Stamp" hidden="1">
              <a:extLst>
                <a:ext uri="{FF2B5EF4-FFF2-40B4-BE49-F238E27FC236}">
                  <a16:creationId xmlns:a16="http://schemas.microsoft.com/office/drawing/2014/main" id="{00FF0B6B-AF42-66E6-E533-D258D7A6F6A6}"/>
                </a:ext>
              </a:extLst>
            </p:cNvPr>
            <p:cNvSpPr/>
            <p:nvPr/>
          </p:nvSpPr>
          <p:spPr>
            <a:xfrm>
              <a:off x="10160000" y="6273800"/>
              <a:ext cx="1422400" cy="304800"/>
            </a:xfrm>
            <a:prstGeom prst="rect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r" defTabSz="203200">
                <a:lnSpc>
                  <a:spcPts val="1200"/>
                </a:lnSpc>
                <a:spcAft>
                  <a:spcPts val="400"/>
                </a:spcAft>
              </a:pPr>
              <a:r>
                <a:rPr lang="en-US" sz="900" baseline="0">
                  <a:solidFill>
                    <a:schemeClr val="tx1"/>
                  </a:solidFill>
                </a:rPr>
                <a:t>Stamp</a:t>
              </a:r>
              <a:endParaRPr lang="en-US" sz="900" baseline="0" dirty="0">
                <a:solidFill>
                  <a:schemeClr val="tx1"/>
                </a:solidFill>
              </a:endParaRPr>
            </a:p>
          </p:txBody>
        </p:sp>
        <p:sp>
          <p:nvSpPr>
            <p:cNvPr id="672" name="Subtitle" hidden="1">
              <a:extLst>
                <a:ext uri="{FF2B5EF4-FFF2-40B4-BE49-F238E27FC236}">
                  <a16:creationId xmlns:a16="http://schemas.microsoft.com/office/drawing/2014/main" id="{7F921553-F921-5C2D-93C0-0AD5E0633E08}"/>
                </a:ext>
              </a:extLst>
            </p:cNvPr>
            <p:cNvSpPr txBox="1"/>
            <p:nvPr/>
          </p:nvSpPr>
          <p:spPr>
            <a:xfrm>
              <a:off x="609600" y="990600"/>
              <a:ext cx="9144000" cy="609600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ts val="3200"/>
                </a:lnSpc>
                <a:spcBef>
                  <a:spcPts val="0"/>
                </a:spcBef>
                <a:spcAft>
                  <a:spcPts val="1600"/>
                </a:spcAft>
              </a:pPr>
              <a:r>
                <a:rPr lang="en-US" sz="2400" b="0" i="0" u="none" baseline="0">
                  <a:solidFill>
                    <a:schemeClr val="tx1"/>
                  </a:solidFill>
                </a:rPr>
                <a:t>Subtitle</a:t>
              </a:r>
              <a:endParaRPr lang="en-US" sz="2400" b="0" i="0" u="none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39" name="Grid Support" hidden="1">
            <a:extLst>
              <a:ext uri="{FF2B5EF4-FFF2-40B4-BE49-F238E27FC236}">
                <a16:creationId xmlns:a16="http://schemas.microsoft.com/office/drawing/2014/main" id="{3FC3C060-626A-8DA3-5705-2484FEC01CB9}"/>
              </a:ext>
            </a:extLst>
          </p:cNvPr>
          <p:cNvGrpSpPr/>
          <p:nvPr/>
        </p:nvGrpSpPr>
        <p:grpSpPr>
          <a:xfrm>
            <a:off x="-355600" y="-330200"/>
            <a:ext cx="12344400" cy="7112000"/>
            <a:chOff x="-355600" y="-330200"/>
            <a:chExt cx="12344400" cy="7112000"/>
          </a:xfrm>
        </p:grpSpPr>
        <p:cxnSp>
          <p:nvCxnSpPr>
            <p:cNvPr id="538" name="Straight Connector 537">
              <a:extLst>
                <a:ext uri="{FF2B5EF4-FFF2-40B4-BE49-F238E27FC236}">
                  <a16:creationId xmlns:a16="http://schemas.microsoft.com/office/drawing/2014/main" id="{0CFD96D7-F7B5-142F-EAE5-D5F9F2FDBA5A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" y="-279400"/>
              <a:ext cx="0" cy="2032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9" name="Straight Connector 538">
              <a:extLst>
                <a:ext uri="{FF2B5EF4-FFF2-40B4-BE49-F238E27FC236}">
                  <a16:creationId xmlns:a16="http://schemas.microsoft.com/office/drawing/2014/main" id="{93331221-5891-F22B-9F08-47C0C7EFF474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0" name="Straight Connector 539">
              <a:extLst>
                <a:ext uri="{FF2B5EF4-FFF2-40B4-BE49-F238E27FC236}">
                  <a16:creationId xmlns:a16="http://schemas.microsoft.com/office/drawing/2014/main" id="{8FEB61DE-45BD-3922-7B29-B2F82EDCF557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1" name="Straight Connector 540">
              <a:extLst>
                <a:ext uri="{FF2B5EF4-FFF2-40B4-BE49-F238E27FC236}">
                  <a16:creationId xmlns:a16="http://schemas.microsoft.com/office/drawing/2014/main" id="{6F040774-B3E2-327F-8228-FABA92804614}"/>
                </a:ext>
              </a:extLst>
            </p:cNvPr>
            <p:cNvCxnSpPr>
              <a:cxnSpLocks/>
            </p:cNvCxnSpPr>
            <p:nvPr/>
          </p:nvCxnSpPr>
          <p:spPr>
            <a:xfrm>
              <a:off x="1219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2" name="Straight Connector 541">
              <a:extLst>
                <a:ext uri="{FF2B5EF4-FFF2-40B4-BE49-F238E27FC236}">
                  <a16:creationId xmlns:a16="http://schemas.microsoft.com/office/drawing/2014/main" id="{1B16B9D2-E67B-9BF5-B72C-0B2E23F28594}"/>
                </a:ext>
              </a:extLst>
            </p:cNvPr>
            <p:cNvCxnSpPr>
              <a:cxnSpLocks/>
            </p:cNvCxnSpPr>
            <p:nvPr/>
          </p:nvCxnSpPr>
          <p:spPr>
            <a:xfrm>
              <a:off x="1422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3" name="Straight Connector 542">
              <a:extLst>
                <a:ext uri="{FF2B5EF4-FFF2-40B4-BE49-F238E27FC236}">
                  <a16:creationId xmlns:a16="http://schemas.microsoft.com/office/drawing/2014/main" id="{66C23595-8A8F-45BD-CF53-7F7710DC2A6C}"/>
                </a:ext>
              </a:extLst>
            </p:cNvPr>
            <p:cNvCxnSpPr>
              <a:cxnSpLocks/>
            </p:cNvCxnSpPr>
            <p:nvPr/>
          </p:nvCxnSpPr>
          <p:spPr>
            <a:xfrm>
              <a:off x="1625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4" name="Straight Connector 543">
              <a:extLst>
                <a:ext uri="{FF2B5EF4-FFF2-40B4-BE49-F238E27FC236}">
                  <a16:creationId xmlns:a16="http://schemas.microsoft.com/office/drawing/2014/main" id="{E2788A33-1A09-CE11-1894-7EC10E5D8178}"/>
                </a:ext>
              </a:extLst>
            </p:cNvPr>
            <p:cNvCxnSpPr>
              <a:cxnSpLocks/>
            </p:cNvCxnSpPr>
            <p:nvPr/>
          </p:nvCxnSpPr>
          <p:spPr>
            <a:xfrm>
              <a:off x="1828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5" name="Straight Connector 544">
              <a:extLst>
                <a:ext uri="{FF2B5EF4-FFF2-40B4-BE49-F238E27FC236}">
                  <a16:creationId xmlns:a16="http://schemas.microsoft.com/office/drawing/2014/main" id="{0E61A20A-A2C4-25A4-1AA7-1102AE8F3091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6" name="Straight Connector 545">
              <a:extLst>
                <a:ext uri="{FF2B5EF4-FFF2-40B4-BE49-F238E27FC236}">
                  <a16:creationId xmlns:a16="http://schemas.microsoft.com/office/drawing/2014/main" id="{7656E82D-EFB5-8016-F7CD-C0A4DB1B004E}"/>
                </a:ext>
              </a:extLst>
            </p:cNvPr>
            <p:cNvCxnSpPr>
              <a:cxnSpLocks/>
            </p:cNvCxnSpPr>
            <p:nvPr/>
          </p:nvCxnSpPr>
          <p:spPr>
            <a:xfrm>
              <a:off x="2235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7" name="Straight Connector 546">
              <a:extLst>
                <a:ext uri="{FF2B5EF4-FFF2-40B4-BE49-F238E27FC236}">
                  <a16:creationId xmlns:a16="http://schemas.microsoft.com/office/drawing/2014/main" id="{293A0ADB-DA88-9B06-BAC5-17329C9EAC90}"/>
                </a:ext>
              </a:extLst>
            </p:cNvPr>
            <p:cNvCxnSpPr>
              <a:cxnSpLocks/>
            </p:cNvCxnSpPr>
            <p:nvPr/>
          </p:nvCxnSpPr>
          <p:spPr>
            <a:xfrm>
              <a:off x="2438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8" name="Straight Connector 547">
              <a:extLst>
                <a:ext uri="{FF2B5EF4-FFF2-40B4-BE49-F238E27FC236}">
                  <a16:creationId xmlns:a16="http://schemas.microsoft.com/office/drawing/2014/main" id="{1F59ACCC-FD64-918D-366A-5542B4BA550C}"/>
                </a:ext>
              </a:extLst>
            </p:cNvPr>
            <p:cNvCxnSpPr>
              <a:cxnSpLocks/>
            </p:cNvCxnSpPr>
            <p:nvPr/>
          </p:nvCxnSpPr>
          <p:spPr>
            <a:xfrm>
              <a:off x="2641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9" name="Straight Connector 548">
              <a:extLst>
                <a:ext uri="{FF2B5EF4-FFF2-40B4-BE49-F238E27FC236}">
                  <a16:creationId xmlns:a16="http://schemas.microsoft.com/office/drawing/2014/main" id="{40ACAE32-50B6-C70C-0F52-5F5380042B5B}"/>
                </a:ext>
              </a:extLst>
            </p:cNvPr>
            <p:cNvCxnSpPr>
              <a:cxnSpLocks/>
            </p:cNvCxnSpPr>
            <p:nvPr/>
          </p:nvCxnSpPr>
          <p:spPr>
            <a:xfrm>
              <a:off x="2844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0" name="Straight Connector 549">
              <a:extLst>
                <a:ext uri="{FF2B5EF4-FFF2-40B4-BE49-F238E27FC236}">
                  <a16:creationId xmlns:a16="http://schemas.microsoft.com/office/drawing/2014/main" id="{A7FF8456-C360-6D94-F32E-794DEB3B6724}"/>
                </a:ext>
              </a:extLst>
            </p:cNvPr>
            <p:cNvCxnSpPr>
              <a:cxnSpLocks/>
            </p:cNvCxnSpPr>
            <p:nvPr/>
          </p:nvCxnSpPr>
          <p:spPr>
            <a:xfrm>
              <a:off x="30480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1" name="Straight Connector 550">
              <a:extLst>
                <a:ext uri="{FF2B5EF4-FFF2-40B4-BE49-F238E27FC236}">
                  <a16:creationId xmlns:a16="http://schemas.microsoft.com/office/drawing/2014/main" id="{06CF12CE-84A0-9E99-1624-696586459355}"/>
                </a:ext>
              </a:extLst>
            </p:cNvPr>
            <p:cNvCxnSpPr>
              <a:cxnSpLocks/>
            </p:cNvCxnSpPr>
            <p:nvPr/>
          </p:nvCxnSpPr>
          <p:spPr>
            <a:xfrm>
              <a:off x="3251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2" name="Straight Connector 551">
              <a:extLst>
                <a:ext uri="{FF2B5EF4-FFF2-40B4-BE49-F238E27FC236}">
                  <a16:creationId xmlns:a16="http://schemas.microsoft.com/office/drawing/2014/main" id="{735CC67A-A18F-8FD4-9970-F34FC5C6F249}"/>
                </a:ext>
              </a:extLst>
            </p:cNvPr>
            <p:cNvCxnSpPr>
              <a:cxnSpLocks/>
            </p:cNvCxnSpPr>
            <p:nvPr/>
          </p:nvCxnSpPr>
          <p:spPr>
            <a:xfrm>
              <a:off x="34544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3" name="Straight Connector 552">
              <a:extLst>
                <a:ext uri="{FF2B5EF4-FFF2-40B4-BE49-F238E27FC236}">
                  <a16:creationId xmlns:a16="http://schemas.microsoft.com/office/drawing/2014/main" id="{F3357DD9-6F01-67C5-B320-67F664F641F4}"/>
                </a:ext>
              </a:extLst>
            </p:cNvPr>
            <p:cNvCxnSpPr>
              <a:cxnSpLocks/>
            </p:cNvCxnSpPr>
            <p:nvPr/>
          </p:nvCxnSpPr>
          <p:spPr>
            <a:xfrm>
              <a:off x="3657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4" name="Straight Connector 553">
              <a:extLst>
                <a:ext uri="{FF2B5EF4-FFF2-40B4-BE49-F238E27FC236}">
                  <a16:creationId xmlns:a16="http://schemas.microsoft.com/office/drawing/2014/main" id="{CA33B3A5-F75F-8D28-BA5B-E41A87A18616}"/>
                </a:ext>
              </a:extLst>
            </p:cNvPr>
            <p:cNvCxnSpPr>
              <a:cxnSpLocks/>
            </p:cNvCxnSpPr>
            <p:nvPr/>
          </p:nvCxnSpPr>
          <p:spPr>
            <a:xfrm>
              <a:off x="3860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5" name="Straight Connector 554">
              <a:extLst>
                <a:ext uri="{FF2B5EF4-FFF2-40B4-BE49-F238E27FC236}">
                  <a16:creationId xmlns:a16="http://schemas.microsoft.com/office/drawing/2014/main" id="{E0D02517-0B0D-B225-B7AF-7BAF2152A122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6" name="Straight Connector 555">
              <a:extLst>
                <a:ext uri="{FF2B5EF4-FFF2-40B4-BE49-F238E27FC236}">
                  <a16:creationId xmlns:a16="http://schemas.microsoft.com/office/drawing/2014/main" id="{8D06E266-C205-032D-0645-E190D504C1A0}"/>
                </a:ext>
              </a:extLst>
            </p:cNvPr>
            <p:cNvCxnSpPr>
              <a:cxnSpLocks/>
            </p:cNvCxnSpPr>
            <p:nvPr/>
          </p:nvCxnSpPr>
          <p:spPr>
            <a:xfrm>
              <a:off x="4267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7" name="Straight Connector 556">
              <a:extLst>
                <a:ext uri="{FF2B5EF4-FFF2-40B4-BE49-F238E27FC236}">
                  <a16:creationId xmlns:a16="http://schemas.microsoft.com/office/drawing/2014/main" id="{9D0657A7-D706-9062-85D2-D025DE8F8C11}"/>
                </a:ext>
              </a:extLst>
            </p:cNvPr>
            <p:cNvCxnSpPr>
              <a:cxnSpLocks/>
            </p:cNvCxnSpPr>
            <p:nvPr/>
          </p:nvCxnSpPr>
          <p:spPr>
            <a:xfrm>
              <a:off x="43688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8" name="Straight Connector 557">
              <a:extLst>
                <a:ext uri="{FF2B5EF4-FFF2-40B4-BE49-F238E27FC236}">
                  <a16:creationId xmlns:a16="http://schemas.microsoft.com/office/drawing/2014/main" id="{4F2F43BA-6928-67CB-C74E-A71348D93D31}"/>
                </a:ext>
              </a:extLst>
            </p:cNvPr>
            <p:cNvCxnSpPr>
              <a:cxnSpLocks/>
            </p:cNvCxnSpPr>
            <p:nvPr/>
          </p:nvCxnSpPr>
          <p:spPr>
            <a:xfrm>
              <a:off x="4673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9" name="Straight Connector 558">
              <a:extLst>
                <a:ext uri="{FF2B5EF4-FFF2-40B4-BE49-F238E27FC236}">
                  <a16:creationId xmlns:a16="http://schemas.microsoft.com/office/drawing/2014/main" id="{D71CA8D1-91D8-ADA9-A053-31B219F8C7FB}"/>
                </a:ext>
              </a:extLst>
            </p:cNvPr>
            <p:cNvCxnSpPr>
              <a:cxnSpLocks/>
            </p:cNvCxnSpPr>
            <p:nvPr/>
          </p:nvCxnSpPr>
          <p:spPr>
            <a:xfrm>
              <a:off x="4876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0" name="Straight Connector 559">
              <a:extLst>
                <a:ext uri="{FF2B5EF4-FFF2-40B4-BE49-F238E27FC236}">
                  <a16:creationId xmlns:a16="http://schemas.microsoft.com/office/drawing/2014/main" id="{9625713D-65A9-F3F2-4B72-605481BC5805}"/>
                </a:ext>
              </a:extLst>
            </p:cNvPr>
            <p:cNvCxnSpPr>
              <a:cxnSpLocks/>
            </p:cNvCxnSpPr>
            <p:nvPr/>
          </p:nvCxnSpPr>
          <p:spPr>
            <a:xfrm>
              <a:off x="5080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1" name="Straight Connector 560">
              <a:extLst>
                <a:ext uri="{FF2B5EF4-FFF2-40B4-BE49-F238E27FC236}">
                  <a16:creationId xmlns:a16="http://schemas.microsoft.com/office/drawing/2014/main" id="{6C0B6D21-1494-A9D8-22A5-38FE6EEE9A2F}"/>
                </a:ext>
              </a:extLst>
            </p:cNvPr>
            <p:cNvCxnSpPr>
              <a:cxnSpLocks/>
            </p:cNvCxnSpPr>
            <p:nvPr/>
          </p:nvCxnSpPr>
          <p:spPr>
            <a:xfrm>
              <a:off x="5283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2" name="Straight Connector 561">
              <a:extLst>
                <a:ext uri="{FF2B5EF4-FFF2-40B4-BE49-F238E27FC236}">
                  <a16:creationId xmlns:a16="http://schemas.microsoft.com/office/drawing/2014/main" id="{4E732CF3-B199-FD77-B7D5-0243115D2CD5}"/>
                </a:ext>
              </a:extLst>
            </p:cNvPr>
            <p:cNvCxnSpPr>
              <a:cxnSpLocks/>
            </p:cNvCxnSpPr>
            <p:nvPr/>
          </p:nvCxnSpPr>
          <p:spPr>
            <a:xfrm>
              <a:off x="5486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3" name="Straight Connector 562">
              <a:extLst>
                <a:ext uri="{FF2B5EF4-FFF2-40B4-BE49-F238E27FC236}">
                  <a16:creationId xmlns:a16="http://schemas.microsoft.com/office/drawing/2014/main" id="{F761F265-49ED-52D2-6332-0E82EAD4C9C5}"/>
                </a:ext>
              </a:extLst>
            </p:cNvPr>
            <p:cNvCxnSpPr>
              <a:cxnSpLocks/>
            </p:cNvCxnSpPr>
            <p:nvPr/>
          </p:nvCxnSpPr>
          <p:spPr>
            <a:xfrm>
              <a:off x="5689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4" name="Straight Connector 563">
              <a:extLst>
                <a:ext uri="{FF2B5EF4-FFF2-40B4-BE49-F238E27FC236}">
                  <a16:creationId xmlns:a16="http://schemas.microsoft.com/office/drawing/2014/main" id="{9D967D66-07B9-A192-15E7-012E074CB12C}"/>
                </a:ext>
              </a:extLst>
            </p:cNvPr>
            <p:cNvCxnSpPr>
              <a:cxnSpLocks/>
            </p:cNvCxnSpPr>
            <p:nvPr/>
          </p:nvCxnSpPr>
          <p:spPr>
            <a:xfrm>
              <a:off x="58928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5" name="Straight Connector 564">
              <a:extLst>
                <a:ext uri="{FF2B5EF4-FFF2-40B4-BE49-F238E27FC236}">
                  <a16:creationId xmlns:a16="http://schemas.microsoft.com/office/drawing/2014/main" id="{BA139CE2-F936-A4C0-5A31-74541FC268BD}"/>
                </a:ext>
              </a:extLst>
            </p:cNvPr>
            <p:cNvCxnSpPr>
              <a:cxnSpLocks/>
            </p:cNvCxnSpPr>
            <p:nvPr/>
          </p:nvCxnSpPr>
          <p:spPr>
            <a:xfrm>
              <a:off x="62992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6" name="Straight Connector 565">
              <a:extLst>
                <a:ext uri="{FF2B5EF4-FFF2-40B4-BE49-F238E27FC236}">
                  <a16:creationId xmlns:a16="http://schemas.microsoft.com/office/drawing/2014/main" id="{A06217BC-A172-8826-5B1A-1815842DFB8C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-330200"/>
              <a:ext cx="0" cy="2540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7" name="Straight Connector 566">
              <a:extLst>
                <a:ext uri="{FF2B5EF4-FFF2-40B4-BE49-F238E27FC236}">
                  <a16:creationId xmlns:a16="http://schemas.microsoft.com/office/drawing/2014/main" id="{4D5739CD-2EFA-DF52-32B2-AA6C209D294C}"/>
                </a:ext>
              </a:extLst>
            </p:cNvPr>
            <p:cNvCxnSpPr>
              <a:cxnSpLocks/>
            </p:cNvCxnSpPr>
            <p:nvPr/>
          </p:nvCxnSpPr>
          <p:spPr>
            <a:xfrm>
              <a:off x="6502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8" name="Straight Connector 567">
              <a:extLst>
                <a:ext uri="{FF2B5EF4-FFF2-40B4-BE49-F238E27FC236}">
                  <a16:creationId xmlns:a16="http://schemas.microsoft.com/office/drawing/2014/main" id="{EA3FD892-82CF-FD02-2480-825A51776510}"/>
                </a:ext>
              </a:extLst>
            </p:cNvPr>
            <p:cNvCxnSpPr>
              <a:cxnSpLocks/>
            </p:cNvCxnSpPr>
            <p:nvPr/>
          </p:nvCxnSpPr>
          <p:spPr>
            <a:xfrm>
              <a:off x="6705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9" name="Straight Connector 568">
              <a:extLst>
                <a:ext uri="{FF2B5EF4-FFF2-40B4-BE49-F238E27FC236}">
                  <a16:creationId xmlns:a16="http://schemas.microsoft.com/office/drawing/2014/main" id="{970C8D3E-5A6F-3A23-4E0C-A52288113B0C}"/>
                </a:ext>
              </a:extLst>
            </p:cNvPr>
            <p:cNvCxnSpPr>
              <a:cxnSpLocks/>
            </p:cNvCxnSpPr>
            <p:nvPr/>
          </p:nvCxnSpPr>
          <p:spPr>
            <a:xfrm>
              <a:off x="6908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0" name="Straight Connector 569">
              <a:extLst>
                <a:ext uri="{FF2B5EF4-FFF2-40B4-BE49-F238E27FC236}">
                  <a16:creationId xmlns:a16="http://schemas.microsoft.com/office/drawing/2014/main" id="{70661C4C-8175-B216-7221-D54CF1B4FCBE}"/>
                </a:ext>
              </a:extLst>
            </p:cNvPr>
            <p:cNvCxnSpPr>
              <a:cxnSpLocks/>
            </p:cNvCxnSpPr>
            <p:nvPr/>
          </p:nvCxnSpPr>
          <p:spPr>
            <a:xfrm>
              <a:off x="7112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1" name="Straight Connector 570">
              <a:extLst>
                <a:ext uri="{FF2B5EF4-FFF2-40B4-BE49-F238E27FC236}">
                  <a16:creationId xmlns:a16="http://schemas.microsoft.com/office/drawing/2014/main" id="{AF1955BD-A748-756E-D7ED-B2D35A39AB27}"/>
                </a:ext>
              </a:extLst>
            </p:cNvPr>
            <p:cNvCxnSpPr>
              <a:cxnSpLocks/>
            </p:cNvCxnSpPr>
            <p:nvPr/>
          </p:nvCxnSpPr>
          <p:spPr>
            <a:xfrm>
              <a:off x="7315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2" name="Straight Connector 571">
              <a:extLst>
                <a:ext uri="{FF2B5EF4-FFF2-40B4-BE49-F238E27FC236}">
                  <a16:creationId xmlns:a16="http://schemas.microsoft.com/office/drawing/2014/main" id="{4574CF1F-0C89-73FD-EC23-7E46DA1F08B5}"/>
                </a:ext>
              </a:extLst>
            </p:cNvPr>
            <p:cNvCxnSpPr>
              <a:cxnSpLocks/>
            </p:cNvCxnSpPr>
            <p:nvPr/>
          </p:nvCxnSpPr>
          <p:spPr>
            <a:xfrm>
              <a:off x="7518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3" name="Straight Connector 572">
              <a:extLst>
                <a:ext uri="{FF2B5EF4-FFF2-40B4-BE49-F238E27FC236}">
                  <a16:creationId xmlns:a16="http://schemas.microsoft.com/office/drawing/2014/main" id="{F131D6EB-5F2C-A5BB-E98C-547D82245228}"/>
                </a:ext>
              </a:extLst>
            </p:cNvPr>
            <p:cNvCxnSpPr>
              <a:cxnSpLocks/>
            </p:cNvCxnSpPr>
            <p:nvPr/>
          </p:nvCxnSpPr>
          <p:spPr>
            <a:xfrm>
              <a:off x="78232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4" name="Straight Connector 573">
              <a:extLst>
                <a:ext uri="{FF2B5EF4-FFF2-40B4-BE49-F238E27FC236}">
                  <a16:creationId xmlns:a16="http://schemas.microsoft.com/office/drawing/2014/main" id="{5247B6BA-7C8A-995A-C56A-489017203A7C}"/>
                </a:ext>
              </a:extLst>
            </p:cNvPr>
            <p:cNvCxnSpPr>
              <a:cxnSpLocks/>
            </p:cNvCxnSpPr>
            <p:nvPr/>
          </p:nvCxnSpPr>
          <p:spPr>
            <a:xfrm>
              <a:off x="7924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5" name="Straight Connector 574">
              <a:extLst>
                <a:ext uri="{FF2B5EF4-FFF2-40B4-BE49-F238E27FC236}">
                  <a16:creationId xmlns:a16="http://schemas.microsoft.com/office/drawing/2014/main" id="{C1D0666E-E92D-2534-33FC-81B3D5B33E9D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6" name="Straight Connector 575">
              <a:extLst>
                <a:ext uri="{FF2B5EF4-FFF2-40B4-BE49-F238E27FC236}">
                  <a16:creationId xmlns:a16="http://schemas.microsoft.com/office/drawing/2014/main" id="{B6E9A317-3C78-6F86-E665-ECD03079B65E}"/>
                </a:ext>
              </a:extLst>
            </p:cNvPr>
            <p:cNvCxnSpPr>
              <a:cxnSpLocks/>
            </p:cNvCxnSpPr>
            <p:nvPr/>
          </p:nvCxnSpPr>
          <p:spPr>
            <a:xfrm>
              <a:off x="8331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7" name="Straight Connector 576">
              <a:extLst>
                <a:ext uri="{FF2B5EF4-FFF2-40B4-BE49-F238E27FC236}">
                  <a16:creationId xmlns:a16="http://schemas.microsoft.com/office/drawing/2014/main" id="{025B8986-9FC6-ADA6-9B02-BEA16E3E3B57}"/>
                </a:ext>
              </a:extLst>
            </p:cNvPr>
            <p:cNvCxnSpPr>
              <a:cxnSpLocks/>
            </p:cNvCxnSpPr>
            <p:nvPr/>
          </p:nvCxnSpPr>
          <p:spPr>
            <a:xfrm>
              <a:off x="8534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8" name="Straight Connector 577">
              <a:extLst>
                <a:ext uri="{FF2B5EF4-FFF2-40B4-BE49-F238E27FC236}">
                  <a16:creationId xmlns:a16="http://schemas.microsoft.com/office/drawing/2014/main" id="{EB9090C4-9FA5-AB1E-1962-BF022AC67E6E}"/>
                </a:ext>
              </a:extLst>
            </p:cNvPr>
            <p:cNvCxnSpPr>
              <a:cxnSpLocks/>
            </p:cNvCxnSpPr>
            <p:nvPr/>
          </p:nvCxnSpPr>
          <p:spPr>
            <a:xfrm>
              <a:off x="87376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9" name="Straight Connector 578">
              <a:extLst>
                <a:ext uri="{FF2B5EF4-FFF2-40B4-BE49-F238E27FC236}">
                  <a16:creationId xmlns:a16="http://schemas.microsoft.com/office/drawing/2014/main" id="{A7DC5E42-5B1E-9A04-F9D0-89C6F53D8279}"/>
                </a:ext>
              </a:extLst>
            </p:cNvPr>
            <p:cNvCxnSpPr>
              <a:cxnSpLocks/>
            </p:cNvCxnSpPr>
            <p:nvPr/>
          </p:nvCxnSpPr>
          <p:spPr>
            <a:xfrm>
              <a:off x="8940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0" name="Straight Connector 579">
              <a:extLst>
                <a:ext uri="{FF2B5EF4-FFF2-40B4-BE49-F238E27FC236}">
                  <a16:creationId xmlns:a16="http://schemas.microsoft.com/office/drawing/2014/main" id="{048F7F9E-8A1E-6060-2317-2EEC3AA72D33}"/>
                </a:ext>
              </a:extLst>
            </p:cNvPr>
            <p:cNvCxnSpPr>
              <a:cxnSpLocks/>
            </p:cNvCxnSpPr>
            <p:nvPr/>
          </p:nvCxnSpPr>
          <p:spPr>
            <a:xfrm>
              <a:off x="91440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1" name="Straight Connector 580">
              <a:extLst>
                <a:ext uri="{FF2B5EF4-FFF2-40B4-BE49-F238E27FC236}">
                  <a16:creationId xmlns:a16="http://schemas.microsoft.com/office/drawing/2014/main" id="{B46B0057-F922-3010-085B-DD33BBCA160B}"/>
                </a:ext>
              </a:extLst>
            </p:cNvPr>
            <p:cNvCxnSpPr>
              <a:cxnSpLocks/>
            </p:cNvCxnSpPr>
            <p:nvPr/>
          </p:nvCxnSpPr>
          <p:spPr>
            <a:xfrm>
              <a:off x="9347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2" name="Straight Connector 581">
              <a:extLst>
                <a:ext uri="{FF2B5EF4-FFF2-40B4-BE49-F238E27FC236}">
                  <a16:creationId xmlns:a16="http://schemas.microsoft.com/office/drawing/2014/main" id="{8FDFD816-2C93-7063-8D10-DF1602BCEA59}"/>
                </a:ext>
              </a:extLst>
            </p:cNvPr>
            <p:cNvCxnSpPr>
              <a:cxnSpLocks/>
            </p:cNvCxnSpPr>
            <p:nvPr/>
          </p:nvCxnSpPr>
          <p:spPr>
            <a:xfrm>
              <a:off x="9550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3" name="Straight Connector 582">
              <a:extLst>
                <a:ext uri="{FF2B5EF4-FFF2-40B4-BE49-F238E27FC236}">
                  <a16:creationId xmlns:a16="http://schemas.microsoft.com/office/drawing/2014/main" id="{D4AD4558-CA13-F998-C692-CFA442B98CF3}"/>
                </a:ext>
              </a:extLst>
            </p:cNvPr>
            <p:cNvCxnSpPr>
              <a:cxnSpLocks/>
            </p:cNvCxnSpPr>
            <p:nvPr/>
          </p:nvCxnSpPr>
          <p:spPr>
            <a:xfrm>
              <a:off x="9753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4" name="Straight Connector 583">
              <a:extLst>
                <a:ext uri="{FF2B5EF4-FFF2-40B4-BE49-F238E27FC236}">
                  <a16:creationId xmlns:a16="http://schemas.microsoft.com/office/drawing/2014/main" id="{EF5866EF-C47C-64B0-EF93-CD27EC61CE92}"/>
                </a:ext>
              </a:extLst>
            </p:cNvPr>
            <p:cNvCxnSpPr>
              <a:cxnSpLocks/>
            </p:cNvCxnSpPr>
            <p:nvPr/>
          </p:nvCxnSpPr>
          <p:spPr>
            <a:xfrm>
              <a:off x="9956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5" name="Straight Connector 584">
              <a:extLst>
                <a:ext uri="{FF2B5EF4-FFF2-40B4-BE49-F238E27FC236}">
                  <a16:creationId xmlns:a16="http://schemas.microsoft.com/office/drawing/2014/main" id="{3A1DF5E2-1545-3752-0600-9F57DF24C442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6" name="Straight Connector 585">
              <a:extLst>
                <a:ext uri="{FF2B5EF4-FFF2-40B4-BE49-F238E27FC236}">
                  <a16:creationId xmlns:a16="http://schemas.microsoft.com/office/drawing/2014/main" id="{5A8813E6-4FFB-5BA0-5D87-EAB56660D152}"/>
                </a:ext>
              </a:extLst>
            </p:cNvPr>
            <p:cNvCxnSpPr>
              <a:cxnSpLocks/>
            </p:cNvCxnSpPr>
            <p:nvPr/>
          </p:nvCxnSpPr>
          <p:spPr>
            <a:xfrm>
              <a:off x="10363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7" name="Straight Connector 586">
              <a:extLst>
                <a:ext uri="{FF2B5EF4-FFF2-40B4-BE49-F238E27FC236}">
                  <a16:creationId xmlns:a16="http://schemas.microsoft.com/office/drawing/2014/main" id="{ACEECC28-0027-CF92-5878-E95F5C531126}"/>
                </a:ext>
              </a:extLst>
            </p:cNvPr>
            <p:cNvCxnSpPr>
              <a:cxnSpLocks/>
            </p:cNvCxnSpPr>
            <p:nvPr/>
          </p:nvCxnSpPr>
          <p:spPr>
            <a:xfrm>
              <a:off x="10566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8" name="Straight Connector 587">
              <a:extLst>
                <a:ext uri="{FF2B5EF4-FFF2-40B4-BE49-F238E27FC236}">
                  <a16:creationId xmlns:a16="http://schemas.microsoft.com/office/drawing/2014/main" id="{CAA365F0-E71C-6AC3-F1A8-D703D8ED2784}"/>
                </a:ext>
              </a:extLst>
            </p:cNvPr>
            <p:cNvCxnSpPr>
              <a:cxnSpLocks/>
            </p:cNvCxnSpPr>
            <p:nvPr/>
          </p:nvCxnSpPr>
          <p:spPr>
            <a:xfrm>
              <a:off x="10769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9" name="Straight Connector 588">
              <a:extLst>
                <a:ext uri="{FF2B5EF4-FFF2-40B4-BE49-F238E27FC236}">
                  <a16:creationId xmlns:a16="http://schemas.microsoft.com/office/drawing/2014/main" id="{53B3DCC7-EE6F-40AC-D98D-A51C8E0217B7}"/>
                </a:ext>
              </a:extLst>
            </p:cNvPr>
            <p:cNvCxnSpPr>
              <a:cxnSpLocks/>
            </p:cNvCxnSpPr>
            <p:nvPr/>
          </p:nvCxnSpPr>
          <p:spPr>
            <a:xfrm>
              <a:off x="10972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0" name="Straight Connector 589">
              <a:extLst>
                <a:ext uri="{FF2B5EF4-FFF2-40B4-BE49-F238E27FC236}">
                  <a16:creationId xmlns:a16="http://schemas.microsoft.com/office/drawing/2014/main" id="{1B780AD5-F3B4-F31D-71D6-2E7ACD15B884}"/>
                </a:ext>
              </a:extLst>
            </p:cNvPr>
            <p:cNvCxnSpPr>
              <a:cxnSpLocks/>
            </p:cNvCxnSpPr>
            <p:nvPr/>
          </p:nvCxnSpPr>
          <p:spPr>
            <a:xfrm>
              <a:off x="11176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1" name="Straight Connector 590">
              <a:extLst>
                <a:ext uri="{FF2B5EF4-FFF2-40B4-BE49-F238E27FC236}">
                  <a16:creationId xmlns:a16="http://schemas.microsoft.com/office/drawing/2014/main" id="{9A8DFB9D-F39D-52EA-3CA5-F90754515AE0}"/>
                </a:ext>
              </a:extLst>
            </p:cNvPr>
            <p:cNvCxnSpPr>
              <a:cxnSpLocks/>
            </p:cNvCxnSpPr>
            <p:nvPr/>
          </p:nvCxnSpPr>
          <p:spPr>
            <a:xfrm>
              <a:off x="11379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2" name="Straight Connector 591">
              <a:extLst>
                <a:ext uri="{FF2B5EF4-FFF2-40B4-BE49-F238E27FC236}">
                  <a16:creationId xmlns:a16="http://schemas.microsoft.com/office/drawing/2014/main" id="{2DC8CB96-FC71-067C-1772-D404679BE65B}"/>
                </a:ext>
              </a:extLst>
            </p:cNvPr>
            <p:cNvCxnSpPr>
              <a:cxnSpLocks/>
            </p:cNvCxnSpPr>
            <p:nvPr/>
          </p:nvCxnSpPr>
          <p:spPr>
            <a:xfrm>
              <a:off x="11582400" y="-279400"/>
              <a:ext cx="0" cy="2032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4" name="Straight Connector 593">
              <a:extLst>
                <a:ext uri="{FF2B5EF4-FFF2-40B4-BE49-F238E27FC236}">
                  <a16:creationId xmlns:a16="http://schemas.microsoft.com/office/drawing/2014/main" id="{CE448E3B-686D-F2E7-BE93-1A348BAA56B2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5" name="Straight Connector 594">
              <a:extLst>
                <a:ext uri="{FF2B5EF4-FFF2-40B4-BE49-F238E27FC236}">
                  <a16:creationId xmlns:a16="http://schemas.microsoft.com/office/drawing/2014/main" id="{02A84058-B93F-7838-ED54-63279616A24A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6" name="Straight Connector 595">
              <a:extLst>
                <a:ext uri="{FF2B5EF4-FFF2-40B4-BE49-F238E27FC236}">
                  <a16:creationId xmlns:a16="http://schemas.microsoft.com/office/drawing/2014/main" id="{8FD5D376-90F3-B3D0-734B-F29027A31096}"/>
                </a:ext>
              </a:extLst>
            </p:cNvPr>
            <p:cNvCxnSpPr>
              <a:cxnSpLocks/>
            </p:cNvCxnSpPr>
            <p:nvPr/>
          </p:nvCxnSpPr>
          <p:spPr>
            <a:xfrm>
              <a:off x="11785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7" name="Straight Connector 596">
              <a:extLst>
                <a:ext uri="{FF2B5EF4-FFF2-40B4-BE49-F238E27FC236}">
                  <a16:creationId xmlns:a16="http://schemas.microsoft.com/office/drawing/2014/main" id="{97E5D813-8AA6-6DA7-A49C-BE58F1B34337}"/>
                </a:ext>
              </a:extLst>
            </p:cNvPr>
            <p:cNvCxnSpPr>
              <a:cxnSpLocks/>
            </p:cNvCxnSpPr>
            <p:nvPr/>
          </p:nvCxnSpPr>
          <p:spPr>
            <a:xfrm>
              <a:off x="11988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8" name="Straight Connector 597">
              <a:extLst>
                <a:ext uri="{FF2B5EF4-FFF2-40B4-BE49-F238E27FC236}">
                  <a16:creationId xmlns:a16="http://schemas.microsoft.com/office/drawing/2014/main" id="{5D236085-90A1-DB70-640B-8E472222F4BA}"/>
                </a:ext>
              </a:extLst>
            </p:cNvPr>
            <p:cNvCxnSpPr>
              <a:cxnSpLocks/>
            </p:cNvCxnSpPr>
            <p:nvPr/>
          </p:nvCxnSpPr>
          <p:spPr>
            <a:xfrm>
              <a:off x="5892800" y="-3302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9" name="Straight Connector 598">
              <a:extLst>
                <a:ext uri="{FF2B5EF4-FFF2-40B4-BE49-F238E27FC236}">
                  <a16:creationId xmlns:a16="http://schemas.microsoft.com/office/drawing/2014/main" id="{398FF3E4-1ED1-8D51-B1F2-66042B748C20}"/>
                </a:ext>
              </a:extLst>
            </p:cNvPr>
            <p:cNvCxnSpPr>
              <a:cxnSpLocks/>
            </p:cNvCxnSpPr>
            <p:nvPr/>
          </p:nvCxnSpPr>
          <p:spPr>
            <a:xfrm>
              <a:off x="6299200" y="-3302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1" name="Straight Connector 600">
              <a:extLst>
                <a:ext uri="{FF2B5EF4-FFF2-40B4-BE49-F238E27FC236}">
                  <a16:creationId xmlns:a16="http://schemas.microsoft.com/office/drawing/2014/main" id="{6095E940-A401-0721-34C9-8A40518FB516}"/>
                </a:ext>
              </a:extLst>
            </p:cNvPr>
            <p:cNvCxnSpPr/>
            <p:nvPr/>
          </p:nvCxnSpPr>
          <p:spPr>
            <a:xfrm>
              <a:off x="-152400" y="279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2" name="Straight Connector 601">
              <a:extLst>
                <a:ext uri="{FF2B5EF4-FFF2-40B4-BE49-F238E27FC236}">
                  <a16:creationId xmlns:a16="http://schemas.microsoft.com/office/drawing/2014/main" id="{6E0C91D8-2789-586B-850C-2B6AF75AB3F1}"/>
                </a:ext>
              </a:extLst>
            </p:cNvPr>
            <p:cNvCxnSpPr/>
            <p:nvPr/>
          </p:nvCxnSpPr>
          <p:spPr>
            <a:xfrm>
              <a:off x="-152400" y="787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3" name="Straight Connector 602">
              <a:extLst>
                <a:ext uri="{FF2B5EF4-FFF2-40B4-BE49-F238E27FC236}">
                  <a16:creationId xmlns:a16="http://schemas.microsoft.com/office/drawing/2014/main" id="{C65BC6F8-6D5E-878E-30A0-8BFB97EB3A35}"/>
                </a:ext>
              </a:extLst>
            </p:cNvPr>
            <p:cNvCxnSpPr/>
            <p:nvPr/>
          </p:nvCxnSpPr>
          <p:spPr>
            <a:xfrm>
              <a:off x="-152400" y="584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4" name="Straight Connector 603">
              <a:extLst>
                <a:ext uri="{FF2B5EF4-FFF2-40B4-BE49-F238E27FC236}">
                  <a16:creationId xmlns:a16="http://schemas.microsoft.com/office/drawing/2014/main" id="{7CD01F2C-CFA1-AF3A-E462-F3DFEB7BA6B5}"/>
                </a:ext>
              </a:extLst>
            </p:cNvPr>
            <p:cNvCxnSpPr/>
            <p:nvPr/>
          </p:nvCxnSpPr>
          <p:spPr>
            <a:xfrm>
              <a:off x="-203200" y="381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5" name="Straight Connector 604">
              <a:extLst>
                <a:ext uri="{FF2B5EF4-FFF2-40B4-BE49-F238E27FC236}">
                  <a16:creationId xmlns:a16="http://schemas.microsoft.com/office/drawing/2014/main" id="{6A28F8B8-71B2-2C78-10FE-14714828B9F8}"/>
                </a:ext>
              </a:extLst>
            </p:cNvPr>
            <p:cNvCxnSpPr/>
            <p:nvPr/>
          </p:nvCxnSpPr>
          <p:spPr>
            <a:xfrm>
              <a:off x="-152400" y="990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6" name="Straight Connector 605">
              <a:extLst>
                <a:ext uri="{FF2B5EF4-FFF2-40B4-BE49-F238E27FC236}">
                  <a16:creationId xmlns:a16="http://schemas.microsoft.com/office/drawing/2014/main" id="{0B0E6785-BFF6-C9ED-0DF6-4D1FC08D9759}"/>
                </a:ext>
              </a:extLst>
            </p:cNvPr>
            <p:cNvCxnSpPr/>
            <p:nvPr/>
          </p:nvCxnSpPr>
          <p:spPr>
            <a:xfrm>
              <a:off x="-152400" y="1193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7" name="Straight Connector 606">
              <a:extLst>
                <a:ext uri="{FF2B5EF4-FFF2-40B4-BE49-F238E27FC236}">
                  <a16:creationId xmlns:a16="http://schemas.microsoft.com/office/drawing/2014/main" id="{2357CEA0-6726-6883-57BD-F7A9866DE9D6}"/>
                </a:ext>
              </a:extLst>
            </p:cNvPr>
            <p:cNvCxnSpPr/>
            <p:nvPr/>
          </p:nvCxnSpPr>
          <p:spPr>
            <a:xfrm>
              <a:off x="-203200" y="1397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8" name="Straight Connector 607">
              <a:extLst>
                <a:ext uri="{FF2B5EF4-FFF2-40B4-BE49-F238E27FC236}">
                  <a16:creationId xmlns:a16="http://schemas.microsoft.com/office/drawing/2014/main" id="{53A14786-7EC7-851B-C041-476BECB84CCF}"/>
                </a:ext>
              </a:extLst>
            </p:cNvPr>
            <p:cNvCxnSpPr/>
            <p:nvPr/>
          </p:nvCxnSpPr>
          <p:spPr>
            <a:xfrm>
              <a:off x="-203200" y="16002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9" name="Straight Connector 608">
              <a:extLst>
                <a:ext uri="{FF2B5EF4-FFF2-40B4-BE49-F238E27FC236}">
                  <a16:creationId xmlns:a16="http://schemas.microsoft.com/office/drawing/2014/main" id="{C0C88909-E77C-DBD7-A2B9-028D5D0044E7}"/>
                </a:ext>
              </a:extLst>
            </p:cNvPr>
            <p:cNvCxnSpPr/>
            <p:nvPr/>
          </p:nvCxnSpPr>
          <p:spPr>
            <a:xfrm>
              <a:off x="-152400" y="1803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0" name="Straight Connector 609">
              <a:extLst>
                <a:ext uri="{FF2B5EF4-FFF2-40B4-BE49-F238E27FC236}">
                  <a16:creationId xmlns:a16="http://schemas.microsoft.com/office/drawing/2014/main" id="{BCAB399B-CF8A-776E-E826-738F3118AE13}"/>
                </a:ext>
              </a:extLst>
            </p:cNvPr>
            <p:cNvCxnSpPr/>
            <p:nvPr/>
          </p:nvCxnSpPr>
          <p:spPr>
            <a:xfrm>
              <a:off x="-152400" y="2006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1" name="Straight Connector 610">
              <a:extLst>
                <a:ext uri="{FF2B5EF4-FFF2-40B4-BE49-F238E27FC236}">
                  <a16:creationId xmlns:a16="http://schemas.microsoft.com/office/drawing/2014/main" id="{868DC6BD-9FBB-1286-9464-F8F2D67D59FC}"/>
                </a:ext>
              </a:extLst>
            </p:cNvPr>
            <p:cNvCxnSpPr/>
            <p:nvPr/>
          </p:nvCxnSpPr>
          <p:spPr>
            <a:xfrm>
              <a:off x="-152400" y="2209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2" name="Straight Connector 611">
              <a:extLst>
                <a:ext uri="{FF2B5EF4-FFF2-40B4-BE49-F238E27FC236}">
                  <a16:creationId xmlns:a16="http://schemas.microsoft.com/office/drawing/2014/main" id="{1E25D695-C1C9-EEEC-CDA3-44D6E5F34E77}"/>
                </a:ext>
              </a:extLst>
            </p:cNvPr>
            <p:cNvCxnSpPr/>
            <p:nvPr/>
          </p:nvCxnSpPr>
          <p:spPr>
            <a:xfrm>
              <a:off x="-152400" y="2413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3" name="Straight Connector 612">
              <a:extLst>
                <a:ext uri="{FF2B5EF4-FFF2-40B4-BE49-F238E27FC236}">
                  <a16:creationId xmlns:a16="http://schemas.microsoft.com/office/drawing/2014/main" id="{D2AA6A8C-8B7C-BEC1-612C-95079A552131}"/>
                </a:ext>
              </a:extLst>
            </p:cNvPr>
            <p:cNvCxnSpPr/>
            <p:nvPr/>
          </p:nvCxnSpPr>
          <p:spPr>
            <a:xfrm>
              <a:off x="-203200" y="26162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4" name="Straight Connector 613">
              <a:extLst>
                <a:ext uri="{FF2B5EF4-FFF2-40B4-BE49-F238E27FC236}">
                  <a16:creationId xmlns:a16="http://schemas.microsoft.com/office/drawing/2014/main" id="{7926D3C4-502F-6EB2-103F-7BB89C56D324}"/>
                </a:ext>
              </a:extLst>
            </p:cNvPr>
            <p:cNvCxnSpPr/>
            <p:nvPr/>
          </p:nvCxnSpPr>
          <p:spPr>
            <a:xfrm>
              <a:off x="-203200" y="28194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5" name="Straight Connector 614">
              <a:extLst>
                <a:ext uri="{FF2B5EF4-FFF2-40B4-BE49-F238E27FC236}">
                  <a16:creationId xmlns:a16="http://schemas.microsoft.com/office/drawing/2014/main" id="{03F5467B-FE3D-54F0-2824-E3089A1941E5}"/>
                </a:ext>
              </a:extLst>
            </p:cNvPr>
            <p:cNvCxnSpPr/>
            <p:nvPr/>
          </p:nvCxnSpPr>
          <p:spPr>
            <a:xfrm>
              <a:off x="-254000" y="30226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6" name="Straight Connector 615">
              <a:extLst>
                <a:ext uri="{FF2B5EF4-FFF2-40B4-BE49-F238E27FC236}">
                  <a16:creationId xmlns:a16="http://schemas.microsoft.com/office/drawing/2014/main" id="{C9639B25-595E-6A2F-66DE-AAEE14F51126}"/>
                </a:ext>
              </a:extLst>
            </p:cNvPr>
            <p:cNvCxnSpPr/>
            <p:nvPr/>
          </p:nvCxnSpPr>
          <p:spPr>
            <a:xfrm>
              <a:off x="-254000" y="32258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7" name="Straight Connector 616">
              <a:extLst>
                <a:ext uri="{FF2B5EF4-FFF2-40B4-BE49-F238E27FC236}">
                  <a16:creationId xmlns:a16="http://schemas.microsoft.com/office/drawing/2014/main" id="{8E825E18-1B62-5390-7448-2A1060D38A41}"/>
                </a:ext>
              </a:extLst>
            </p:cNvPr>
            <p:cNvCxnSpPr/>
            <p:nvPr/>
          </p:nvCxnSpPr>
          <p:spPr>
            <a:xfrm>
              <a:off x="-152400" y="3429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8" name="Straight Connector 617">
              <a:extLst>
                <a:ext uri="{FF2B5EF4-FFF2-40B4-BE49-F238E27FC236}">
                  <a16:creationId xmlns:a16="http://schemas.microsoft.com/office/drawing/2014/main" id="{C47ACFEC-CFA8-DCC6-1DBA-0B99F8F7F19B}"/>
                </a:ext>
              </a:extLst>
            </p:cNvPr>
            <p:cNvCxnSpPr/>
            <p:nvPr/>
          </p:nvCxnSpPr>
          <p:spPr>
            <a:xfrm>
              <a:off x="-152400" y="3632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9" name="Straight Connector 618">
              <a:extLst>
                <a:ext uri="{FF2B5EF4-FFF2-40B4-BE49-F238E27FC236}">
                  <a16:creationId xmlns:a16="http://schemas.microsoft.com/office/drawing/2014/main" id="{EFE363C0-E0EE-758A-D7D7-44C3A27B037B}"/>
                </a:ext>
              </a:extLst>
            </p:cNvPr>
            <p:cNvCxnSpPr/>
            <p:nvPr/>
          </p:nvCxnSpPr>
          <p:spPr>
            <a:xfrm>
              <a:off x="-203200" y="38354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0" name="Straight Connector 619">
              <a:extLst>
                <a:ext uri="{FF2B5EF4-FFF2-40B4-BE49-F238E27FC236}">
                  <a16:creationId xmlns:a16="http://schemas.microsoft.com/office/drawing/2014/main" id="{1256F036-4A4D-1E9E-1A5F-DCC19044319F}"/>
                </a:ext>
              </a:extLst>
            </p:cNvPr>
            <p:cNvCxnSpPr/>
            <p:nvPr/>
          </p:nvCxnSpPr>
          <p:spPr>
            <a:xfrm>
              <a:off x="-203200" y="40386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1" name="Straight Connector 620">
              <a:extLst>
                <a:ext uri="{FF2B5EF4-FFF2-40B4-BE49-F238E27FC236}">
                  <a16:creationId xmlns:a16="http://schemas.microsoft.com/office/drawing/2014/main" id="{C3686432-DD24-E167-2715-EC8E69A77B28}"/>
                </a:ext>
              </a:extLst>
            </p:cNvPr>
            <p:cNvCxnSpPr/>
            <p:nvPr/>
          </p:nvCxnSpPr>
          <p:spPr>
            <a:xfrm>
              <a:off x="-152400" y="4241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2" name="Straight Connector 621">
              <a:extLst>
                <a:ext uri="{FF2B5EF4-FFF2-40B4-BE49-F238E27FC236}">
                  <a16:creationId xmlns:a16="http://schemas.microsoft.com/office/drawing/2014/main" id="{0E0CAE4F-0E99-E72E-1016-56A9182C682B}"/>
                </a:ext>
              </a:extLst>
            </p:cNvPr>
            <p:cNvCxnSpPr/>
            <p:nvPr/>
          </p:nvCxnSpPr>
          <p:spPr>
            <a:xfrm>
              <a:off x="-152400" y="4445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3" name="Straight Connector 622">
              <a:extLst>
                <a:ext uri="{FF2B5EF4-FFF2-40B4-BE49-F238E27FC236}">
                  <a16:creationId xmlns:a16="http://schemas.microsoft.com/office/drawing/2014/main" id="{53336AC3-6DDB-86F9-9A7D-257ACB7989DC}"/>
                </a:ext>
              </a:extLst>
            </p:cNvPr>
            <p:cNvCxnSpPr/>
            <p:nvPr/>
          </p:nvCxnSpPr>
          <p:spPr>
            <a:xfrm>
              <a:off x="-254000" y="46482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4" name="Straight Connector 623">
              <a:extLst>
                <a:ext uri="{FF2B5EF4-FFF2-40B4-BE49-F238E27FC236}">
                  <a16:creationId xmlns:a16="http://schemas.microsoft.com/office/drawing/2014/main" id="{CCB74389-CC92-2002-D402-1DBBBED7A822}"/>
                </a:ext>
              </a:extLst>
            </p:cNvPr>
            <p:cNvCxnSpPr/>
            <p:nvPr/>
          </p:nvCxnSpPr>
          <p:spPr>
            <a:xfrm>
              <a:off x="-254000" y="48514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5" name="Straight Connector 624">
              <a:extLst>
                <a:ext uri="{FF2B5EF4-FFF2-40B4-BE49-F238E27FC236}">
                  <a16:creationId xmlns:a16="http://schemas.microsoft.com/office/drawing/2014/main" id="{9BBA4A47-0FBB-01B7-12C2-8E1753941A49}"/>
                </a:ext>
              </a:extLst>
            </p:cNvPr>
            <p:cNvCxnSpPr/>
            <p:nvPr/>
          </p:nvCxnSpPr>
          <p:spPr>
            <a:xfrm>
              <a:off x="-203200" y="50546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6" name="Straight Connector 625">
              <a:extLst>
                <a:ext uri="{FF2B5EF4-FFF2-40B4-BE49-F238E27FC236}">
                  <a16:creationId xmlns:a16="http://schemas.microsoft.com/office/drawing/2014/main" id="{D004C5B6-F03D-5DE8-E68F-3AE4F793E861}"/>
                </a:ext>
              </a:extLst>
            </p:cNvPr>
            <p:cNvCxnSpPr/>
            <p:nvPr/>
          </p:nvCxnSpPr>
          <p:spPr>
            <a:xfrm>
              <a:off x="-203200" y="52578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7" name="Straight Connector 626">
              <a:extLst>
                <a:ext uri="{FF2B5EF4-FFF2-40B4-BE49-F238E27FC236}">
                  <a16:creationId xmlns:a16="http://schemas.microsoft.com/office/drawing/2014/main" id="{09051E2F-A7DB-6C7D-0E17-A29B16B9BB68}"/>
                </a:ext>
              </a:extLst>
            </p:cNvPr>
            <p:cNvCxnSpPr/>
            <p:nvPr/>
          </p:nvCxnSpPr>
          <p:spPr>
            <a:xfrm>
              <a:off x="-152400" y="5461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8" name="Straight Connector 627">
              <a:extLst>
                <a:ext uri="{FF2B5EF4-FFF2-40B4-BE49-F238E27FC236}">
                  <a16:creationId xmlns:a16="http://schemas.microsoft.com/office/drawing/2014/main" id="{D8ABCA41-6CE5-722F-3067-3FA5B8D5156F}"/>
                </a:ext>
              </a:extLst>
            </p:cNvPr>
            <p:cNvCxnSpPr/>
            <p:nvPr/>
          </p:nvCxnSpPr>
          <p:spPr>
            <a:xfrm>
              <a:off x="-152400" y="5664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9" name="Straight Connector 628">
              <a:extLst>
                <a:ext uri="{FF2B5EF4-FFF2-40B4-BE49-F238E27FC236}">
                  <a16:creationId xmlns:a16="http://schemas.microsoft.com/office/drawing/2014/main" id="{C699AE77-E204-CCB9-6118-A68AC4B33AF0}"/>
                </a:ext>
              </a:extLst>
            </p:cNvPr>
            <p:cNvCxnSpPr/>
            <p:nvPr/>
          </p:nvCxnSpPr>
          <p:spPr>
            <a:xfrm>
              <a:off x="-152400" y="5867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0" name="Straight Connector 629">
              <a:extLst>
                <a:ext uri="{FF2B5EF4-FFF2-40B4-BE49-F238E27FC236}">
                  <a16:creationId xmlns:a16="http://schemas.microsoft.com/office/drawing/2014/main" id="{E943A7C8-4C94-7FCC-1742-27A7BF9F6FD5}"/>
                </a:ext>
              </a:extLst>
            </p:cNvPr>
            <p:cNvCxnSpPr/>
            <p:nvPr/>
          </p:nvCxnSpPr>
          <p:spPr>
            <a:xfrm>
              <a:off x="-152400" y="6070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1" name="Straight Connector 630">
              <a:extLst>
                <a:ext uri="{FF2B5EF4-FFF2-40B4-BE49-F238E27FC236}">
                  <a16:creationId xmlns:a16="http://schemas.microsoft.com/office/drawing/2014/main" id="{50947452-EAD0-668A-3E77-1BFEF1BCD581}"/>
                </a:ext>
              </a:extLst>
            </p:cNvPr>
            <p:cNvCxnSpPr/>
            <p:nvPr/>
          </p:nvCxnSpPr>
          <p:spPr>
            <a:xfrm>
              <a:off x="-203200" y="62738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2" name="Straight Connector 631">
              <a:extLst>
                <a:ext uri="{FF2B5EF4-FFF2-40B4-BE49-F238E27FC236}">
                  <a16:creationId xmlns:a16="http://schemas.microsoft.com/office/drawing/2014/main" id="{DD31B4FC-0FE7-431E-CE7F-ED39AD1508FB}"/>
                </a:ext>
              </a:extLst>
            </p:cNvPr>
            <p:cNvCxnSpPr/>
            <p:nvPr/>
          </p:nvCxnSpPr>
          <p:spPr>
            <a:xfrm>
              <a:off x="-152400" y="6324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3" name="Straight Connector 632">
              <a:extLst>
                <a:ext uri="{FF2B5EF4-FFF2-40B4-BE49-F238E27FC236}">
                  <a16:creationId xmlns:a16="http://schemas.microsoft.com/office/drawing/2014/main" id="{937ADBB6-7460-DD0C-6040-C5E47275159B}"/>
                </a:ext>
              </a:extLst>
            </p:cNvPr>
            <p:cNvCxnSpPr/>
            <p:nvPr/>
          </p:nvCxnSpPr>
          <p:spPr>
            <a:xfrm>
              <a:off x="-152400" y="6527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4" name="Straight Connector 633">
              <a:extLst>
                <a:ext uri="{FF2B5EF4-FFF2-40B4-BE49-F238E27FC236}">
                  <a16:creationId xmlns:a16="http://schemas.microsoft.com/office/drawing/2014/main" id="{CA595009-CD54-1B6B-8D9F-1DA04B8E7841}"/>
                </a:ext>
              </a:extLst>
            </p:cNvPr>
            <p:cNvCxnSpPr/>
            <p:nvPr/>
          </p:nvCxnSpPr>
          <p:spPr>
            <a:xfrm>
              <a:off x="-152400" y="6578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5" name="Straight Connector 634">
              <a:extLst>
                <a:ext uri="{FF2B5EF4-FFF2-40B4-BE49-F238E27FC236}">
                  <a16:creationId xmlns:a16="http://schemas.microsoft.com/office/drawing/2014/main" id="{2B179F18-9FE2-E498-58DC-9875FF47D48B}"/>
                </a:ext>
              </a:extLst>
            </p:cNvPr>
            <p:cNvCxnSpPr/>
            <p:nvPr/>
          </p:nvCxnSpPr>
          <p:spPr>
            <a:xfrm>
              <a:off x="-152400" y="6781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7" name="Straight Connector 636">
              <a:extLst>
                <a:ext uri="{FF2B5EF4-FFF2-40B4-BE49-F238E27FC236}">
                  <a16:creationId xmlns:a16="http://schemas.microsoft.com/office/drawing/2014/main" id="{4970919A-9CD5-C0CC-0267-42EC5559928D}"/>
                </a:ext>
              </a:extLst>
            </p:cNvPr>
            <p:cNvCxnSpPr/>
            <p:nvPr/>
          </p:nvCxnSpPr>
          <p:spPr>
            <a:xfrm>
              <a:off x="-355600" y="38354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8" name="Straight Connector 637">
              <a:extLst>
                <a:ext uri="{FF2B5EF4-FFF2-40B4-BE49-F238E27FC236}">
                  <a16:creationId xmlns:a16="http://schemas.microsoft.com/office/drawing/2014/main" id="{2B963BD9-92DF-FF13-F685-D4599E73BB97}"/>
                </a:ext>
              </a:extLst>
            </p:cNvPr>
            <p:cNvCxnSpPr/>
            <p:nvPr/>
          </p:nvCxnSpPr>
          <p:spPr>
            <a:xfrm>
              <a:off x="-355600" y="40386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0" name="Straight Connector 639">
              <a:extLst>
                <a:ext uri="{FF2B5EF4-FFF2-40B4-BE49-F238E27FC236}">
                  <a16:creationId xmlns:a16="http://schemas.microsoft.com/office/drawing/2014/main" id="{1BC2CFB2-3A2B-4C75-4E77-438BCB0F3F8C}"/>
                </a:ext>
              </a:extLst>
            </p:cNvPr>
            <p:cNvCxnSpPr/>
            <p:nvPr/>
          </p:nvCxnSpPr>
          <p:spPr>
            <a:xfrm>
              <a:off x="-355600" y="62738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1" name="Straight Connector 640">
              <a:extLst>
                <a:ext uri="{FF2B5EF4-FFF2-40B4-BE49-F238E27FC236}">
                  <a16:creationId xmlns:a16="http://schemas.microsoft.com/office/drawing/2014/main" id="{42772E8F-76CC-2C6C-3660-BF3ABB87B872}"/>
                </a:ext>
              </a:extLst>
            </p:cNvPr>
            <p:cNvCxnSpPr/>
            <p:nvPr/>
          </p:nvCxnSpPr>
          <p:spPr>
            <a:xfrm>
              <a:off x="-152400" y="76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2" name="Straight Connector 641">
              <a:extLst>
                <a:ext uri="{FF2B5EF4-FFF2-40B4-BE49-F238E27FC236}">
                  <a16:creationId xmlns:a16="http://schemas.microsoft.com/office/drawing/2014/main" id="{6E3632F8-F2E3-25C9-690B-C73DF4FA8534}"/>
                </a:ext>
              </a:extLst>
            </p:cNvPr>
            <p:cNvCxnSpPr/>
            <p:nvPr/>
          </p:nvCxnSpPr>
          <p:spPr>
            <a:xfrm>
              <a:off x="-355600" y="16002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3" name="Straight Connector 642">
              <a:extLst>
                <a:ext uri="{FF2B5EF4-FFF2-40B4-BE49-F238E27FC236}">
                  <a16:creationId xmlns:a16="http://schemas.microsoft.com/office/drawing/2014/main" id="{A100E2E5-AD1D-B3D4-D7BD-BE18B05825D3}"/>
                </a:ext>
              </a:extLst>
            </p:cNvPr>
            <p:cNvCxnSpPr/>
            <p:nvPr/>
          </p:nvCxnSpPr>
          <p:spPr>
            <a:xfrm>
              <a:off x="-355600" y="1397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4" name="Straight Connector 643">
              <a:extLst>
                <a:ext uri="{FF2B5EF4-FFF2-40B4-BE49-F238E27FC236}">
                  <a16:creationId xmlns:a16="http://schemas.microsoft.com/office/drawing/2014/main" id="{9515AD02-D8EC-1249-38CB-5BEF1ADA3C86}"/>
                </a:ext>
              </a:extLst>
            </p:cNvPr>
            <p:cNvCxnSpPr/>
            <p:nvPr/>
          </p:nvCxnSpPr>
          <p:spPr>
            <a:xfrm>
              <a:off x="-355600" y="381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5" name="Straight Connector 644">
              <a:extLst>
                <a:ext uri="{FF2B5EF4-FFF2-40B4-BE49-F238E27FC236}">
                  <a16:creationId xmlns:a16="http://schemas.microsoft.com/office/drawing/2014/main" id="{2EEECE57-6126-4DDB-25E2-A496262849CC}"/>
                </a:ext>
              </a:extLst>
            </p:cNvPr>
            <p:cNvCxnSpPr/>
            <p:nvPr/>
          </p:nvCxnSpPr>
          <p:spPr>
            <a:xfrm>
              <a:off x="-355600" y="3937000"/>
              <a:ext cx="2540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6" name="Straight Connector 645">
              <a:extLst>
                <a:ext uri="{FF2B5EF4-FFF2-40B4-BE49-F238E27FC236}">
                  <a16:creationId xmlns:a16="http://schemas.microsoft.com/office/drawing/2014/main" id="{A33CD08E-3D5F-E423-EA6C-41CDB09E4946}"/>
                </a:ext>
              </a:extLst>
            </p:cNvPr>
            <p:cNvCxnSpPr/>
            <p:nvPr/>
          </p:nvCxnSpPr>
          <p:spPr>
            <a:xfrm>
              <a:off x="-355600" y="889000"/>
              <a:ext cx="2540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8" name="Straight Connector 647">
              <a:extLst>
                <a:ext uri="{FF2B5EF4-FFF2-40B4-BE49-F238E27FC236}">
                  <a16:creationId xmlns:a16="http://schemas.microsoft.com/office/drawing/2014/main" id="{2F4A3ECA-2825-7826-2925-38F6857BBA9D}"/>
                </a:ext>
              </a:extLst>
            </p:cNvPr>
            <p:cNvCxnSpPr>
              <a:cxnSpLocks/>
            </p:cNvCxnSpPr>
            <p:nvPr/>
          </p:nvCxnSpPr>
          <p:spPr>
            <a:xfrm>
              <a:off x="4470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9" name="Straight Connector 648">
              <a:extLst>
                <a:ext uri="{FF2B5EF4-FFF2-40B4-BE49-F238E27FC236}">
                  <a16:creationId xmlns:a16="http://schemas.microsoft.com/office/drawing/2014/main" id="{FAA54607-9340-DF57-EEED-6A94B812CBD4}"/>
                </a:ext>
              </a:extLst>
            </p:cNvPr>
            <p:cNvCxnSpPr>
              <a:cxnSpLocks/>
            </p:cNvCxnSpPr>
            <p:nvPr/>
          </p:nvCxnSpPr>
          <p:spPr>
            <a:xfrm>
              <a:off x="7721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7" name="Grid Structure 4pt/8px" hidden="1">
            <a:extLst>
              <a:ext uri="{FF2B5EF4-FFF2-40B4-BE49-F238E27FC236}">
                <a16:creationId xmlns:a16="http://schemas.microsoft.com/office/drawing/2014/main" id="{17F06CAB-5E70-ED5E-6F69-21DB28F66836}"/>
              </a:ext>
            </a:extLst>
          </p:cNvPr>
          <p:cNvGrpSpPr/>
          <p:nvPr/>
        </p:nvGrpSpPr>
        <p:grpSpPr>
          <a:xfrm>
            <a:off x="203200" y="76200"/>
            <a:ext cx="11785600" cy="6705600"/>
            <a:chOff x="203200" y="76200"/>
            <a:chExt cx="11785600" cy="6705600"/>
          </a:xfrm>
        </p:grpSpPr>
        <p:cxnSp>
          <p:nvCxnSpPr>
            <p:cNvPr id="479" name="Straight Connector 478">
              <a:extLst>
                <a:ext uri="{FF2B5EF4-FFF2-40B4-BE49-F238E27FC236}">
                  <a16:creationId xmlns:a16="http://schemas.microsoft.com/office/drawing/2014/main" id="{34D2403A-9E8C-5C39-9611-5C6026E28FE0}"/>
                </a:ext>
              </a:extLst>
            </p:cNvPr>
            <p:cNvCxnSpPr/>
            <p:nvPr/>
          </p:nvCxnSpPr>
          <p:spPr>
            <a:xfrm>
              <a:off x="203200" y="76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DB2C721B-E9C3-23FE-71DC-76B704DAC12B}"/>
                </a:ext>
              </a:extLst>
            </p:cNvPr>
            <p:cNvCxnSpPr/>
            <p:nvPr/>
          </p:nvCxnSpPr>
          <p:spPr>
            <a:xfrm>
              <a:off x="203200" y="279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3" name="Straight Connector 352">
              <a:extLst>
                <a:ext uri="{FF2B5EF4-FFF2-40B4-BE49-F238E27FC236}">
                  <a16:creationId xmlns:a16="http://schemas.microsoft.com/office/drawing/2014/main" id="{973E380C-48CF-9EE2-F928-02CDC3F93EE7}"/>
                </a:ext>
              </a:extLst>
            </p:cNvPr>
            <p:cNvCxnSpPr/>
            <p:nvPr/>
          </p:nvCxnSpPr>
          <p:spPr>
            <a:xfrm>
              <a:off x="203200" y="381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4" name="Straight Connector 353">
              <a:extLst>
                <a:ext uri="{FF2B5EF4-FFF2-40B4-BE49-F238E27FC236}">
                  <a16:creationId xmlns:a16="http://schemas.microsoft.com/office/drawing/2014/main" id="{29DCF932-F4D4-35CD-05D5-670C57F85362}"/>
                </a:ext>
              </a:extLst>
            </p:cNvPr>
            <p:cNvCxnSpPr/>
            <p:nvPr/>
          </p:nvCxnSpPr>
          <p:spPr>
            <a:xfrm>
              <a:off x="203200" y="584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5" name="Straight Connector 354">
              <a:extLst>
                <a:ext uri="{FF2B5EF4-FFF2-40B4-BE49-F238E27FC236}">
                  <a16:creationId xmlns:a16="http://schemas.microsoft.com/office/drawing/2014/main" id="{FB2A616B-0A95-F02E-1394-F50ED1398D37}"/>
                </a:ext>
              </a:extLst>
            </p:cNvPr>
            <p:cNvCxnSpPr/>
            <p:nvPr/>
          </p:nvCxnSpPr>
          <p:spPr>
            <a:xfrm>
              <a:off x="203200" y="787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7" name="Straight Connector 356">
              <a:extLst>
                <a:ext uri="{FF2B5EF4-FFF2-40B4-BE49-F238E27FC236}">
                  <a16:creationId xmlns:a16="http://schemas.microsoft.com/office/drawing/2014/main" id="{F9F49583-8544-EB28-23CE-B0CF778FF2BD}"/>
                </a:ext>
              </a:extLst>
            </p:cNvPr>
            <p:cNvCxnSpPr/>
            <p:nvPr/>
          </p:nvCxnSpPr>
          <p:spPr>
            <a:xfrm>
              <a:off x="203200" y="990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8" name="Straight Connector 357">
              <a:extLst>
                <a:ext uri="{FF2B5EF4-FFF2-40B4-BE49-F238E27FC236}">
                  <a16:creationId xmlns:a16="http://schemas.microsoft.com/office/drawing/2014/main" id="{41439CB3-66B0-E8F9-2591-4F7439CF740A}"/>
                </a:ext>
              </a:extLst>
            </p:cNvPr>
            <p:cNvCxnSpPr/>
            <p:nvPr/>
          </p:nvCxnSpPr>
          <p:spPr>
            <a:xfrm>
              <a:off x="203200" y="1193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9" name="Straight Connector 358">
              <a:extLst>
                <a:ext uri="{FF2B5EF4-FFF2-40B4-BE49-F238E27FC236}">
                  <a16:creationId xmlns:a16="http://schemas.microsoft.com/office/drawing/2014/main" id="{1DF61535-212C-C58C-8B29-40971B689923}"/>
                </a:ext>
              </a:extLst>
            </p:cNvPr>
            <p:cNvCxnSpPr/>
            <p:nvPr/>
          </p:nvCxnSpPr>
          <p:spPr>
            <a:xfrm>
              <a:off x="203200" y="1397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0" name="Straight Connector 359">
              <a:extLst>
                <a:ext uri="{FF2B5EF4-FFF2-40B4-BE49-F238E27FC236}">
                  <a16:creationId xmlns:a16="http://schemas.microsoft.com/office/drawing/2014/main" id="{EF6A89FF-8A54-3A74-8A1B-B23FB10155FB}"/>
                </a:ext>
              </a:extLst>
            </p:cNvPr>
            <p:cNvCxnSpPr/>
            <p:nvPr/>
          </p:nvCxnSpPr>
          <p:spPr>
            <a:xfrm>
              <a:off x="203200" y="1600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27BBE4AB-FAD5-25D7-6297-9CF0776FBD98}"/>
                </a:ext>
              </a:extLst>
            </p:cNvPr>
            <p:cNvCxnSpPr/>
            <p:nvPr/>
          </p:nvCxnSpPr>
          <p:spPr>
            <a:xfrm>
              <a:off x="203200" y="1803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3" name="Straight Connector 362">
              <a:extLst>
                <a:ext uri="{FF2B5EF4-FFF2-40B4-BE49-F238E27FC236}">
                  <a16:creationId xmlns:a16="http://schemas.microsoft.com/office/drawing/2014/main" id="{792D44F9-651A-7FA3-BDA6-E43F0D8A9471}"/>
                </a:ext>
              </a:extLst>
            </p:cNvPr>
            <p:cNvCxnSpPr/>
            <p:nvPr/>
          </p:nvCxnSpPr>
          <p:spPr>
            <a:xfrm>
              <a:off x="203200" y="2006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60BA471E-F499-8522-CD48-AFA1D4E83673}"/>
                </a:ext>
              </a:extLst>
            </p:cNvPr>
            <p:cNvCxnSpPr/>
            <p:nvPr/>
          </p:nvCxnSpPr>
          <p:spPr>
            <a:xfrm>
              <a:off x="203200" y="2209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D789B9C6-F8F0-DEFD-64EB-74D0D6BAF9E6}"/>
                </a:ext>
              </a:extLst>
            </p:cNvPr>
            <p:cNvCxnSpPr/>
            <p:nvPr/>
          </p:nvCxnSpPr>
          <p:spPr>
            <a:xfrm>
              <a:off x="203200" y="2413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7" name="Straight Connector 366">
              <a:extLst>
                <a:ext uri="{FF2B5EF4-FFF2-40B4-BE49-F238E27FC236}">
                  <a16:creationId xmlns:a16="http://schemas.microsoft.com/office/drawing/2014/main" id="{9325D9C7-1B5D-D0E6-DF87-C4C8303C6328}"/>
                </a:ext>
              </a:extLst>
            </p:cNvPr>
            <p:cNvCxnSpPr/>
            <p:nvPr/>
          </p:nvCxnSpPr>
          <p:spPr>
            <a:xfrm>
              <a:off x="203200" y="2616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8" name="Straight Connector 367">
              <a:extLst>
                <a:ext uri="{FF2B5EF4-FFF2-40B4-BE49-F238E27FC236}">
                  <a16:creationId xmlns:a16="http://schemas.microsoft.com/office/drawing/2014/main" id="{6F084FA9-52CB-AD53-5B86-1F0C239A027A}"/>
                </a:ext>
              </a:extLst>
            </p:cNvPr>
            <p:cNvCxnSpPr/>
            <p:nvPr/>
          </p:nvCxnSpPr>
          <p:spPr>
            <a:xfrm>
              <a:off x="203200" y="2819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78F30CD4-E679-DC02-8845-4673D27994CC}"/>
                </a:ext>
              </a:extLst>
            </p:cNvPr>
            <p:cNvCxnSpPr/>
            <p:nvPr/>
          </p:nvCxnSpPr>
          <p:spPr>
            <a:xfrm>
              <a:off x="203200" y="3022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2822B735-342B-6378-47A1-E6BF0984D43E}"/>
                </a:ext>
              </a:extLst>
            </p:cNvPr>
            <p:cNvCxnSpPr/>
            <p:nvPr/>
          </p:nvCxnSpPr>
          <p:spPr>
            <a:xfrm>
              <a:off x="203200" y="3225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047EFC56-4DF0-98C3-DBAE-E795B1347AEB}"/>
                </a:ext>
              </a:extLst>
            </p:cNvPr>
            <p:cNvCxnSpPr/>
            <p:nvPr/>
          </p:nvCxnSpPr>
          <p:spPr>
            <a:xfrm>
              <a:off x="203200" y="3429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3" name="Straight Connector 372">
              <a:extLst>
                <a:ext uri="{FF2B5EF4-FFF2-40B4-BE49-F238E27FC236}">
                  <a16:creationId xmlns:a16="http://schemas.microsoft.com/office/drawing/2014/main" id="{22DA30F6-A256-98B0-1B9C-CF0C6DC2BFBA}"/>
                </a:ext>
              </a:extLst>
            </p:cNvPr>
            <p:cNvCxnSpPr/>
            <p:nvPr/>
          </p:nvCxnSpPr>
          <p:spPr>
            <a:xfrm>
              <a:off x="203200" y="3632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4" name="Straight Connector 373">
              <a:extLst>
                <a:ext uri="{FF2B5EF4-FFF2-40B4-BE49-F238E27FC236}">
                  <a16:creationId xmlns:a16="http://schemas.microsoft.com/office/drawing/2014/main" id="{769C8018-70D7-6528-AD45-C9684836981D}"/>
                </a:ext>
              </a:extLst>
            </p:cNvPr>
            <p:cNvCxnSpPr/>
            <p:nvPr/>
          </p:nvCxnSpPr>
          <p:spPr>
            <a:xfrm>
              <a:off x="203200" y="3835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5" name="Straight Connector 374">
              <a:extLst>
                <a:ext uri="{FF2B5EF4-FFF2-40B4-BE49-F238E27FC236}">
                  <a16:creationId xmlns:a16="http://schemas.microsoft.com/office/drawing/2014/main" id="{22B97A86-4C6E-D712-EA4E-0C883F81556E}"/>
                </a:ext>
              </a:extLst>
            </p:cNvPr>
            <p:cNvCxnSpPr/>
            <p:nvPr/>
          </p:nvCxnSpPr>
          <p:spPr>
            <a:xfrm>
              <a:off x="203200" y="4038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Straight Connector 375">
              <a:extLst>
                <a:ext uri="{FF2B5EF4-FFF2-40B4-BE49-F238E27FC236}">
                  <a16:creationId xmlns:a16="http://schemas.microsoft.com/office/drawing/2014/main" id="{9AB33D42-8F07-D766-B1B1-ED59E94B8B39}"/>
                </a:ext>
              </a:extLst>
            </p:cNvPr>
            <p:cNvCxnSpPr/>
            <p:nvPr/>
          </p:nvCxnSpPr>
          <p:spPr>
            <a:xfrm>
              <a:off x="203200" y="4241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7" name="Straight Connector 376">
              <a:extLst>
                <a:ext uri="{FF2B5EF4-FFF2-40B4-BE49-F238E27FC236}">
                  <a16:creationId xmlns:a16="http://schemas.microsoft.com/office/drawing/2014/main" id="{33B8ADB1-5989-ECCE-B214-C609E488B875}"/>
                </a:ext>
              </a:extLst>
            </p:cNvPr>
            <p:cNvCxnSpPr/>
            <p:nvPr/>
          </p:nvCxnSpPr>
          <p:spPr>
            <a:xfrm>
              <a:off x="203200" y="4445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8" name="Straight Connector 377">
              <a:extLst>
                <a:ext uri="{FF2B5EF4-FFF2-40B4-BE49-F238E27FC236}">
                  <a16:creationId xmlns:a16="http://schemas.microsoft.com/office/drawing/2014/main" id="{73647A78-2465-BE80-4CB2-11438AD4FED6}"/>
                </a:ext>
              </a:extLst>
            </p:cNvPr>
            <p:cNvCxnSpPr/>
            <p:nvPr/>
          </p:nvCxnSpPr>
          <p:spPr>
            <a:xfrm>
              <a:off x="203200" y="4648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9" name="Straight Connector 378">
              <a:extLst>
                <a:ext uri="{FF2B5EF4-FFF2-40B4-BE49-F238E27FC236}">
                  <a16:creationId xmlns:a16="http://schemas.microsoft.com/office/drawing/2014/main" id="{A2477A41-ADB5-CED9-4A7B-D346C6AD359D}"/>
                </a:ext>
              </a:extLst>
            </p:cNvPr>
            <p:cNvCxnSpPr/>
            <p:nvPr/>
          </p:nvCxnSpPr>
          <p:spPr>
            <a:xfrm>
              <a:off x="203200" y="4851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0" name="Straight Connector 379">
              <a:extLst>
                <a:ext uri="{FF2B5EF4-FFF2-40B4-BE49-F238E27FC236}">
                  <a16:creationId xmlns:a16="http://schemas.microsoft.com/office/drawing/2014/main" id="{242F2E7F-9FD7-109D-37C7-F851609A5320}"/>
                </a:ext>
              </a:extLst>
            </p:cNvPr>
            <p:cNvCxnSpPr/>
            <p:nvPr/>
          </p:nvCxnSpPr>
          <p:spPr>
            <a:xfrm>
              <a:off x="203200" y="5054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3F6DC466-B938-9EDF-E341-74FA121D5179}"/>
                </a:ext>
              </a:extLst>
            </p:cNvPr>
            <p:cNvCxnSpPr/>
            <p:nvPr/>
          </p:nvCxnSpPr>
          <p:spPr>
            <a:xfrm>
              <a:off x="203200" y="5257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Straight Connector 396">
              <a:extLst>
                <a:ext uri="{FF2B5EF4-FFF2-40B4-BE49-F238E27FC236}">
                  <a16:creationId xmlns:a16="http://schemas.microsoft.com/office/drawing/2014/main" id="{2673C885-1424-6CBF-6BD6-6CAC4F06E93B}"/>
                </a:ext>
              </a:extLst>
            </p:cNvPr>
            <p:cNvCxnSpPr/>
            <p:nvPr/>
          </p:nvCxnSpPr>
          <p:spPr>
            <a:xfrm>
              <a:off x="203200" y="5461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8" name="Straight Connector 397">
              <a:extLst>
                <a:ext uri="{FF2B5EF4-FFF2-40B4-BE49-F238E27FC236}">
                  <a16:creationId xmlns:a16="http://schemas.microsoft.com/office/drawing/2014/main" id="{ABBDB58E-425F-B64B-DC02-69BAAD5537FA}"/>
                </a:ext>
              </a:extLst>
            </p:cNvPr>
            <p:cNvCxnSpPr/>
            <p:nvPr/>
          </p:nvCxnSpPr>
          <p:spPr>
            <a:xfrm>
              <a:off x="203200" y="5664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FBC55815-9925-C582-5129-ADDA959FF884}"/>
                </a:ext>
              </a:extLst>
            </p:cNvPr>
            <p:cNvCxnSpPr/>
            <p:nvPr/>
          </p:nvCxnSpPr>
          <p:spPr>
            <a:xfrm>
              <a:off x="203200" y="5867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5" name="Straight Connector 414">
              <a:extLst>
                <a:ext uri="{FF2B5EF4-FFF2-40B4-BE49-F238E27FC236}">
                  <a16:creationId xmlns:a16="http://schemas.microsoft.com/office/drawing/2014/main" id="{1FFA8E8D-9DDC-4AE6-3E6E-E068D354B41A}"/>
                </a:ext>
              </a:extLst>
            </p:cNvPr>
            <p:cNvCxnSpPr/>
            <p:nvPr/>
          </p:nvCxnSpPr>
          <p:spPr>
            <a:xfrm>
              <a:off x="203200" y="6070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3" name="Straight Connector 432">
              <a:extLst>
                <a:ext uri="{FF2B5EF4-FFF2-40B4-BE49-F238E27FC236}">
                  <a16:creationId xmlns:a16="http://schemas.microsoft.com/office/drawing/2014/main" id="{6C6198D9-BB30-B546-0FD7-708F6CFD4E05}"/>
                </a:ext>
              </a:extLst>
            </p:cNvPr>
            <p:cNvCxnSpPr/>
            <p:nvPr/>
          </p:nvCxnSpPr>
          <p:spPr>
            <a:xfrm>
              <a:off x="203200" y="6273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4" name="Straight Connector 433">
              <a:extLst>
                <a:ext uri="{FF2B5EF4-FFF2-40B4-BE49-F238E27FC236}">
                  <a16:creationId xmlns:a16="http://schemas.microsoft.com/office/drawing/2014/main" id="{83AC2CC8-37DD-6D32-0FC0-7E8185FF308E}"/>
                </a:ext>
              </a:extLst>
            </p:cNvPr>
            <p:cNvCxnSpPr/>
            <p:nvPr/>
          </p:nvCxnSpPr>
          <p:spPr>
            <a:xfrm>
              <a:off x="203200" y="6324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5" name="Straight Connector 434">
              <a:extLst>
                <a:ext uri="{FF2B5EF4-FFF2-40B4-BE49-F238E27FC236}">
                  <a16:creationId xmlns:a16="http://schemas.microsoft.com/office/drawing/2014/main" id="{C76C1BBB-1155-6BCB-A830-6FC97BF80614}"/>
                </a:ext>
              </a:extLst>
            </p:cNvPr>
            <p:cNvCxnSpPr/>
            <p:nvPr/>
          </p:nvCxnSpPr>
          <p:spPr>
            <a:xfrm>
              <a:off x="203200" y="6527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6" name="Straight Connector 435">
              <a:extLst>
                <a:ext uri="{FF2B5EF4-FFF2-40B4-BE49-F238E27FC236}">
                  <a16:creationId xmlns:a16="http://schemas.microsoft.com/office/drawing/2014/main" id="{D7FF3F20-114F-31D4-0B8D-6A8C8084C69B}"/>
                </a:ext>
              </a:extLst>
            </p:cNvPr>
            <p:cNvCxnSpPr/>
            <p:nvPr/>
          </p:nvCxnSpPr>
          <p:spPr>
            <a:xfrm>
              <a:off x="203200" y="6578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7" name="Straight Connector 436">
              <a:extLst>
                <a:ext uri="{FF2B5EF4-FFF2-40B4-BE49-F238E27FC236}">
                  <a16:creationId xmlns:a16="http://schemas.microsoft.com/office/drawing/2014/main" id="{3C119390-FC50-2B5E-E8CC-904165BC0158}"/>
                </a:ext>
              </a:extLst>
            </p:cNvPr>
            <p:cNvCxnSpPr/>
            <p:nvPr/>
          </p:nvCxnSpPr>
          <p:spPr>
            <a:xfrm>
              <a:off x="203200" y="6781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8" name="Straight Connector 437">
              <a:extLst>
                <a:ext uri="{FF2B5EF4-FFF2-40B4-BE49-F238E27FC236}">
                  <a16:creationId xmlns:a16="http://schemas.microsoft.com/office/drawing/2014/main" id="{F1FD15E1-63FC-CDC5-3B2D-4779E73850D6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4" name="Straight Connector 443">
              <a:extLst>
                <a:ext uri="{FF2B5EF4-FFF2-40B4-BE49-F238E27FC236}">
                  <a16:creationId xmlns:a16="http://schemas.microsoft.com/office/drawing/2014/main" id="{6D4C5821-B091-7194-C6C7-7C279C06B58A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0" name="Straight Connector 479">
              <a:extLst>
                <a:ext uri="{FF2B5EF4-FFF2-40B4-BE49-F238E27FC236}">
                  <a16:creationId xmlns:a16="http://schemas.microsoft.com/office/drawing/2014/main" id="{FBE23AC3-99BE-3FF2-67F3-681E6E54976F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1" name="Straight Connector 480">
              <a:extLst>
                <a:ext uri="{FF2B5EF4-FFF2-40B4-BE49-F238E27FC236}">
                  <a16:creationId xmlns:a16="http://schemas.microsoft.com/office/drawing/2014/main" id="{B92814F5-800B-7D26-DC1A-128AB3465438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2" name="Straight Connector 481">
              <a:extLst>
                <a:ext uri="{FF2B5EF4-FFF2-40B4-BE49-F238E27FC236}">
                  <a16:creationId xmlns:a16="http://schemas.microsoft.com/office/drawing/2014/main" id="{3094ABCC-D198-1C19-F99C-A49242D8E61D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3" name="Straight Connector 482">
              <a:extLst>
                <a:ext uri="{FF2B5EF4-FFF2-40B4-BE49-F238E27FC236}">
                  <a16:creationId xmlns:a16="http://schemas.microsoft.com/office/drawing/2014/main" id="{4594A92A-CFD7-9B15-3E05-F6D3FC1329D2}"/>
                </a:ext>
              </a:extLst>
            </p:cNvPr>
            <p:cNvCxnSpPr>
              <a:cxnSpLocks/>
            </p:cNvCxnSpPr>
            <p:nvPr/>
          </p:nvCxnSpPr>
          <p:spPr>
            <a:xfrm>
              <a:off x="1219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4" name="Straight Connector 483">
              <a:extLst>
                <a:ext uri="{FF2B5EF4-FFF2-40B4-BE49-F238E27FC236}">
                  <a16:creationId xmlns:a16="http://schemas.microsoft.com/office/drawing/2014/main" id="{699B5588-6A21-A6DC-5265-2F6A694EA99E}"/>
                </a:ext>
              </a:extLst>
            </p:cNvPr>
            <p:cNvCxnSpPr>
              <a:cxnSpLocks/>
            </p:cNvCxnSpPr>
            <p:nvPr/>
          </p:nvCxnSpPr>
          <p:spPr>
            <a:xfrm>
              <a:off x="1422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5" name="Straight Connector 484">
              <a:extLst>
                <a:ext uri="{FF2B5EF4-FFF2-40B4-BE49-F238E27FC236}">
                  <a16:creationId xmlns:a16="http://schemas.microsoft.com/office/drawing/2014/main" id="{15C6FF81-886C-85A3-74F3-FEA2D65411D9}"/>
                </a:ext>
              </a:extLst>
            </p:cNvPr>
            <p:cNvCxnSpPr>
              <a:cxnSpLocks/>
            </p:cNvCxnSpPr>
            <p:nvPr/>
          </p:nvCxnSpPr>
          <p:spPr>
            <a:xfrm>
              <a:off x="1625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6" name="Straight Connector 485">
              <a:extLst>
                <a:ext uri="{FF2B5EF4-FFF2-40B4-BE49-F238E27FC236}">
                  <a16:creationId xmlns:a16="http://schemas.microsoft.com/office/drawing/2014/main" id="{14435E9C-200D-C9D5-1C3E-84D7842FD739}"/>
                </a:ext>
              </a:extLst>
            </p:cNvPr>
            <p:cNvCxnSpPr>
              <a:cxnSpLocks/>
            </p:cNvCxnSpPr>
            <p:nvPr/>
          </p:nvCxnSpPr>
          <p:spPr>
            <a:xfrm>
              <a:off x="1828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7" name="Straight Connector 486">
              <a:extLst>
                <a:ext uri="{FF2B5EF4-FFF2-40B4-BE49-F238E27FC236}">
                  <a16:creationId xmlns:a16="http://schemas.microsoft.com/office/drawing/2014/main" id="{08C70336-CFF1-73E3-CC20-FF0B5F4F1B08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8" name="Straight Connector 487">
              <a:extLst>
                <a:ext uri="{FF2B5EF4-FFF2-40B4-BE49-F238E27FC236}">
                  <a16:creationId xmlns:a16="http://schemas.microsoft.com/office/drawing/2014/main" id="{990A9784-2128-3739-6828-0464B87B24B5}"/>
                </a:ext>
              </a:extLst>
            </p:cNvPr>
            <p:cNvCxnSpPr>
              <a:cxnSpLocks/>
            </p:cNvCxnSpPr>
            <p:nvPr/>
          </p:nvCxnSpPr>
          <p:spPr>
            <a:xfrm>
              <a:off x="2235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9" name="Straight Connector 488">
              <a:extLst>
                <a:ext uri="{FF2B5EF4-FFF2-40B4-BE49-F238E27FC236}">
                  <a16:creationId xmlns:a16="http://schemas.microsoft.com/office/drawing/2014/main" id="{7F6BBCAE-59FA-C39F-D856-F6C1B99357BD}"/>
                </a:ext>
              </a:extLst>
            </p:cNvPr>
            <p:cNvCxnSpPr>
              <a:cxnSpLocks/>
            </p:cNvCxnSpPr>
            <p:nvPr/>
          </p:nvCxnSpPr>
          <p:spPr>
            <a:xfrm>
              <a:off x="2438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0" name="Straight Connector 489">
              <a:extLst>
                <a:ext uri="{FF2B5EF4-FFF2-40B4-BE49-F238E27FC236}">
                  <a16:creationId xmlns:a16="http://schemas.microsoft.com/office/drawing/2014/main" id="{C7AE90AF-F2B3-2D98-9573-69E42B4F1180}"/>
                </a:ext>
              </a:extLst>
            </p:cNvPr>
            <p:cNvCxnSpPr>
              <a:cxnSpLocks/>
            </p:cNvCxnSpPr>
            <p:nvPr/>
          </p:nvCxnSpPr>
          <p:spPr>
            <a:xfrm>
              <a:off x="2641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1" name="Straight Connector 490">
              <a:extLst>
                <a:ext uri="{FF2B5EF4-FFF2-40B4-BE49-F238E27FC236}">
                  <a16:creationId xmlns:a16="http://schemas.microsoft.com/office/drawing/2014/main" id="{DD87DF0D-4B14-EAC2-7B33-EE2A7BBD2540}"/>
                </a:ext>
              </a:extLst>
            </p:cNvPr>
            <p:cNvCxnSpPr>
              <a:cxnSpLocks/>
            </p:cNvCxnSpPr>
            <p:nvPr/>
          </p:nvCxnSpPr>
          <p:spPr>
            <a:xfrm>
              <a:off x="2844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2" name="Straight Connector 491">
              <a:extLst>
                <a:ext uri="{FF2B5EF4-FFF2-40B4-BE49-F238E27FC236}">
                  <a16:creationId xmlns:a16="http://schemas.microsoft.com/office/drawing/2014/main" id="{1C50DBD5-B054-E2EF-8BD4-151AB42071B8}"/>
                </a:ext>
              </a:extLst>
            </p:cNvPr>
            <p:cNvCxnSpPr>
              <a:cxnSpLocks/>
            </p:cNvCxnSpPr>
            <p:nvPr/>
          </p:nvCxnSpPr>
          <p:spPr>
            <a:xfrm>
              <a:off x="3048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3" name="Straight Connector 492">
              <a:extLst>
                <a:ext uri="{FF2B5EF4-FFF2-40B4-BE49-F238E27FC236}">
                  <a16:creationId xmlns:a16="http://schemas.microsoft.com/office/drawing/2014/main" id="{4E2CDB4B-50EF-38DF-F894-51B55B068145}"/>
                </a:ext>
              </a:extLst>
            </p:cNvPr>
            <p:cNvCxnSpPr>
              <a:cxnSpLocks/>
            </p:cNvCxnSpPr>
            <p:nvPr/>
          </p:nvCxnSpPr>
          <p:spPr>
            <a:xfrm>
              <a:off x="3251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4" name="Straight Connector 493">
              <a:extLst>
                <a:ext uri="{FF2B5EF4-FFF2-40B4-BE49-F238E27FC236}">
                  <a16:creationId xmlns:a16="http://schemas.microsoft.com/office/drawing/2014/main" id="{C2B26D99-A049-647A-1B17-8A034D6FE107}"/>
                </a:ext>
              </a:extLst>
            </p:cNvPr>
            <p:cNvCxnSpPr>
              <a:cxnSpLocks/>
            </p:cNvCxnSpPr>
            <p:nvPr/>
          </p:nvCxnSpPr>
          <p:spPr>
            <a:xfrm>
              <a:off x="3454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5" name="Straight Connector 494">
              <a:extLst>
                <a:ext uri="{FF2B5EF4-FFF2-40B4-BE49-F238E27FC236}">
                  <a16:creationId xmlns:a16="http://schemas.microsoft.com/office/drawing/2014/main" id="{0ADE33D8-68EC-0B06-EF7C-DDDEBFFCF026}"/>
                </a:ext>
              </a:extLst>
            </p:cNvPr>
            <p:cNvCxnSpPr>
              <a:cxnSpLocks/>
            </p:cNvCxnSpPr>
            <p:nvPr/>
          </p:nvCxnSpPr>
          <p:spPr>
            <a:xfrm>
              <a:off x="3657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6" name="Straight Connector 495">
              <a:extLst>
                <a:ext uri="{FF2B5EF4-FFF2-40B4-BE49-F238E27FC236}">
                  <a16:creationId xmlns:a16="http://schemas.microsoft.com/office/drawing/2014/main" id="{8C975F1D-58DB-1F73-820F-063341C8B3A4}"/>
                </a:ext>
              </a:extLst>
            </p:cNvPr>
            <p:cNvCxnSpPr>
              <a:cxnSpLocks/>
            </p:cNvCxnSpPr>
            <p:nvPr/>
          </p:nvCxnSpPr>
          <p:spPr>
            <a:xfrm>
              <a:off x="3860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7" name="Straight Connector 496">
              <a:extLst>
                <a:ext uri="{FF2B5EF4-FFF2-40B4-BE49-F238E27FC236}">
                  <a16:creationId xmlns:a16="http://schemas.microsoft.com/office/drawing/2014/main" id="{A1720D14-CD68-4EF7-8D92-430AFCF6E707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8" name="Straight Connector 497">
              <a:extLst>
                <a:ext uri="{FF2B5EF4-FFF2-40B4-BE49-F238E27FC236}">
                  <a16:creationId xmlns:a16="http://schemas.microsoft.com/office/drawing/2014/main" id="{B3377738-122A-6110-7977-82DEC19ECB3F}"/>
                </a:ext>
              </a:extLst>
            </p:cNvPr>
            <p:cNvCxnSpPr>
              <a:cxnSpLocks/>
            </p:cNvCxnSpPr>
            <p:nvPr/>
          </p:nvCxnSpPr>
          <p:spPr>
            <a:xfrm>
              <a:off x="4267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9" name="Straight Connector 498">
              <a:extLst>
                <a:ext uri="{FF2B5EF4-FFF2-40B4-BE49-F238E27FC236}">
                  <a16:creationId xmlns:a16="http://schemas.microsoft.com/office/drawing/2014/main" id="{F8B67FA9-22C4-3435-7DBA-841F642507D1}"/>
                </a:ext>
              </a:extLst>
            </p:cNvPr>
            <p:cNvCxnSpPr>
              <a:cxnSpLocks/>
            </p:cNvCxnSpPr>
            <p:nvPr/>
          </p:nvCxnSpPr>
          <p:spPr>
            <a:xfrm>
              <a:off x="4470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0" name="Straight Connector 499">
              <a:extLst>
                <a:ext uri="{FF2B5EF4-FFF2-40B4-BE49-F238E27FC236}">
                  <a16:creationId xmlns:a16="http://schemas.microsoft.com/office/drawing/2014/main" id="{AA91DADF-F35A-8A55-9981-16E8F7F5B810}"/>
                </a:ext>
              </a:extLst>
            </p:cNvPr>
            <p:cNvCxnSpPr>
              <a:cxnSpLocks/>
            </p:cNvCxnSpPr>
            <p:nvPr/>
          </p:nvCxnSpPr>
          <p:spPr>
            <a:xfrm>
              <a:off x="4673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1" name="Straight Connector 500">
              <a:extLst>
                <a:ext uri="{FF2B5EF4-FFF2-40B4-BE49-F238E27FC236}">
                  <a16:creationId xmlns:a16="http://schemas.microsoft.com/office/drawing/2014/main" id="{143CF3EC-1756-8096-44F1-4764812323DA}"/>
                </a:ext>
              </a:extLst>
            </p:cNvPr>
            <p:cNvCxnSpPr>
              <a:cxnSpLocks/>
            </p:cNvCxnSpPr>
            <p:nvPr/>
          </p:nvCxnSpPr>
          <p:spPr>
            <a:xfrm>
              <a:off x="4876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2" name="Straight Connector 501">
              <a:extLst>
                <a:ext uri="{FF2B5EF4-FFF2-40B4-BE49-F238E27FC236}">
                  <a16:creationId xmlns:a16="http://schemas.microsoft.com/office/drawing/2014/main" id="{759E4C6F-BE3A-7877-DAD8-5A486EFDE192}"/>
                </a:ext>
              </a:extLst>
            </p:cNvPr>
            <p:cNvCxnSpPr>
              <a:cxnSpLocks/>
            </p:cNvCxnSpPr>
            <p:nvPr/>
          </p:nvCxnSpPr>
          <p:spPr>
            <a:xfrm>
              <a:off x="5080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3" name="Straight Connector 502">
              <a:extLst>
                <a:ext uri="{FF2B5EF4-FFF2-40B4-BE49-F238E27FC236}">
                  <a16:creationId xmlns:a16="http://schemas.microsoft.com/office/drawing/2014/main" id="{9AF57447-A323-C2EB-F5B2-D550B7A461A7}"/>
                </a:ext>
              </a:extLst>
            </p:cNvPr>
            <p:cNvCxnSpPr>
              <a:cxnSpLocks/>
            </p:cNvCxnSpPr>
            <p:nvPr/>
          </p:nvCxnSpPr>
          <p:spPr>
            <a:xfrm>
              <a:off x="5283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4" name="Straight Connector 503">
              <a:extLst>
                <a:ext uri="{FF2B5EF4-FFF2-40B4-BE49-F238E27FC236}">
                  <a16:creationId xmlns:a16="http://schemas.microsoft.com/office/drawing/2014/main" id="{0E5BD1EB-7705-B5A1-1493-C52EA398107A}"/>
                </a:ext>
              </a:extLst>
            </p:cNvPr>
            <p:cNvCxnSpPr>
              <a:cxnSpLocks/>
            </p:cNvCxnSpPr>
            <p:nvPr/>
          </p:nvCxnSpPr>
          <p:spPr>
            <a:xfrm>
              <a:off x="5486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5" name="Straight Connector 504">
              <a:extLst>
                <a:ext uri="{FF2B5EF4-FFF2-40B4-BE49-F238E27FC236}">
                  <a16:creationId xmlns:a16="http://schemas.microsoft.com/office/drawing/2014/main" id="{A8AA8222-A9C9-71B0-8874-95D6EDADCD98}"/>
                </a:ext>
              </a:extLst>
            </p:cNvPr>
            <p:cNvCxnSpPr>
              <a:cxnSpLocks/>
            </p:cNvCxnSpPr>
            <p:nvPr/>
          </p:nvCxnSpPr>
          <p:spPr>
            <a:xfrm>
              <a:off x="5689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6" name="Straight Connector 505">
              <a:extLst>
                <a:ext uri="{FF2B5EF4-FFF2-40B4-BE49-F238E27FC236}">
                  <a16:creationId xmlns:a16="http://schemas.microsoft.com/office/drawing/2014/main" id="{073D880D-CD09-CBB4-16BA-2A8E87CD9D84}"/>
                </a:ext>
              </a:extLst>
            </p:cNvPr>
            <p:cNvCxnSpPr>
              <a:cxnSpLocks/>
            </p:cNvCxnSpPr>
            <p:nvPr/>
          </p:nvCxnSpPr>
          <p:spPr>
            <a:xfrm>
              <a:off x="5892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7" name="Straight Connector 506">
              <a:extLst>
                <a:ext uri="{FF2B5EF4-FFF2-40B4-BE49-F238E27FC236}">
                  <a16:creationId xmlns:a16="http://schemas.microsoft.com/office/drawing/2014/main" id="{812866F3-44A8-3CEA-28D9-7AF496C04A2A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8" name="Straight Connector 507">
              <a:extLst>
                <a:ext uri="{FF2B5EF4-FFF2-40B4-BE49-F238E27FC236}">
                  <a16:creationId xmlns:a16="http://schemas.microsoft.com/office/drawing/2014/main" id="{F419295E-CDDB-9E97-8F28-F903EFD03208}"/>
                </a:ext>
              </a:extLst>
            </p:cNvPr>
            <p:cNvCxnSpPr>
              <a:cxnSpLocks/>
            </p:cNvCxnSpPr>
            <p:nvPr/>
          </p:nvCxnSpPr>
          <p:spPr>
            <a:xfrm>
              <a:off x="6299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9" name="Straight Connector 508">
              <a:extLst>
                <a:ext uri="{FF2B5EF4-FFF2-40B4-BE49-F238E27FC236}">
                  <a16:creationId xmlns:a16="http://schemas.microsoft.com/office/drawing/2014/main" id="{54B7287C-0431-4B10-1E6B-22F8C128B338}"/>
                </a:ext>
              </a:extLst>
            </p:cNvPr>
            <p:cNvCxnSpPr>
              <a:cxnSpLocks/>
            </p:cNvCxnSpPr>
            <p:nvPr/>
          </p:nvCxnSpPr>
          <p:spPr>
            <a:xfrm>
              <a:off x="6502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0" name="Straight Connector 509">
              <a:extLst>
                <a:ext uri="{FF2B5EF4-FFF2-40B4-BE49-F238E27FC236}">
                  <a16:creationId xmlns:a16="http://schemas.microsoft.com/office/drawing/2014/main" id="{3FE9B0CE-F112-12DC-9291-B7C599F9031F}"/>
                </a:ext>
              </a:extLst>
            </p:cNvPr>
            <p:cNvCxnSpPr>
              <a:cxnSpLocks/>
            </p:cNvCxnSpPr>
            <p:nvPr/>
          </p:nvCxnSpPr>
          <p:spPr>
            <a:xfrm>
              <a:off x="6705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1" name="Straight Connector 510">
              <a:extLst>
                <a:ext uri="{FF2B5EF4-FFF2-40B4-BE49-F238E27FC236}">
                  <a16:creationId xmlns:a16="http://schemas.microsoft.com/office/drawing/2014/main" id="{AC7A6729-E1FF-ADA9-5404-512BB851730C}"/>
                </a:ext>
              </a:extLst>
            </p:cNvPr>
            <p:cNvCxnSpPr>
              <a:cxnSpLocks/>
            </p:cNvCxnSpPr>
            <p:nvPr/>
          </p:nvCxnSpPr>
          <p:spPr>
            <a:xfrm>
              <a:off x="6908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2" name="Straight Connector 511">
              <a:extLst>
                <a:ext uri="{FF2B5EF4-FFF2-40B4-BE49-F238E27FC236}">
                  <a16:creationId xmlns:a16="http://schemas.microsoft.com/office/drawing/2014/main" id="{2E124A38-8DB4-882E-F91D-8E5F0F19E790}"/>
                </a:ext>
              </a:extLst>
            </p:cNvPr>
            <p:cNvCxnSpPr>
              <a:cxnSpLocks/>
            </p:cNvCxnSpPr>
            <p:nvPr/>
          </p:nvCxnSpPr>
          <p:spPr>
            <a:xfrm>
              <a:off x="7112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3" name="Straight Connector 512">
              <a:extLst>
                <a:ext uri="{FF2B5EF4-FFF2-40B4-BE49-F238E27FC236}">
                  <a16:creationId xmlns:a16="http://schemas.microsoft.com/office/drawing/2014/main" id="{387D883A-C569-9048-1102-2A4481F19B37}"/>
                </a:ext>
              </a:extLst>
            </p:cNvPr>
            <p:cNvCxnSpPr>
              <a:cxnSpLocks/>
            </p:cNvCxnSpPr>
            <p:nvPr/>
          </p:nvCxnSpPr>
          <p:spPr>
            <a:xfrm>
              <a:off x="7315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4" name="Straight Connector 513">
              <a:extLst>
                <a:ext uri="{FF2B5EF4-FFF2-40B4-BE49-F238E27FC236}">
                  <a16:creationId xmlns:a16="http://schemas.microsoft.com/office/drawing/2014/main" id="{64162DA4-1950-A179-F2ED-B50E9BA48A08}"/>
                </a:ext>
              </a:extLst>
            </p:cNvPr>
            <p:cNvCxnSpPr>
              <a:cxnSpLocks/>
            </p:cNvCxnSpPr>
            <p:nvPr/>
          </p:nvCxnSpPr>
          <p:spPr>
            <a:xfrm>
              <a:off x="7518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5" name="Straight Connector 514">
              <a:extLst>
                <a:ext uri="{FF2B5EF4-FFF2-40B4-BE49-F238E27FC236}">
                  <a16:creationId xmlns:a16="http://schemas.microsoft.com/office/drawing/2014/main" id="{7C8E0EA5-3EEA-1117-A686-2B01DA6D3C17}"/>
                </a:ext>
              </a:extLst>
            </p:cNvPr>
            <p:cNvCxnSpPr>
              <a:cxnSpLocks/>
            </p:cNvCxnSpPr>
            <p:nvPr/>
          </p:nvCxnSpPr>
          <p:spPr>
            <a:xfrm>
              <a:off x="7721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6" name="Straight Connector 515">
              <a:extLst>
                <a:ext uri="{FF2B5EF4-FFF2-40B4-BE49-F238E27FC236}">
                  <a16:creationId xmlns:a16="http://schemas.microsoft.com/office/drawing/2014/main" id="{57F3E21D-0683-5C73-B975-533264440FC3}"/>
                </a:ext>
              </a:extLst>
            </p:cNvPr>
            <p:cNvCxnSpPr>
              <a:cxnSpLocks/>
            </p:cNvCxnSpPr>
            <p:nvPr/>
          </p:nvCxnSpPr>
          <p:spPr>
            <a:xfrm>
              <a:off x="7924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7" name="Straight Connector 516">
              <a:extLst>
                <a:ext uri="{FF2B5EF4-FFF2-40B4-BE49-F238E27FC236}">
                  <a16:creationId xmlns:a16="http://schemas.microsoft.com/office/drawing/2014/main" id="{92F73360-9F43-3272-F218-F6DD824E0191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8" name="Straight Connector 517">
              <a:extLst>
                <a:ext uri="{FF2B5EF4-FFF2-40B4-BE49-F238E27FC236}">
                  <a16:creationId xmlns:a16="http://schemas.microsoft.com/office/drawing/2014/main" id="{0815A90B-9FFC-73FD-6C29-20CCE6A75CCC}"/>
                </a:ext>
              </a:extLst>
            </p:cNvPr>
            <p:cNvCxnSpPr>
              <a:cxnSpLocks/>
            </p:cNvCxnSpPr>
            <p:nvPr/>
          </p:nvCxnSpPr>
          <p:spPr>
            <a:xfrm>
              <a:off x="8331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9" name="Straight Connector 518">
              <a:extLst>
                <a:ext uri="{FF2B5EF4-FFF2-40B4-BE49-F238E27FC236}">
                  <a16:creationId xmlns:a16="http://schemas.microsoft.com/office/drawing/2014/main" id="{B9889978-8E24-F29B-3969-0C902E4E8981}"/>
                </a:ext>
              </a:extLst>
            </p:cNvPr>
            <p:cNvCxnSpPr>
              <a:cxnSpLocks/>
            </p:cNvCxnSpPr>
            <p:nvPr/>
          </p:nvCxnSpPr>
          <p:spPr>
            <a:xfrm>
              <a:off x="8534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0" name="Straight Connector 519">
              <a:extLst>
                <a:ext uri="{FF2B5EF4-FFF2-40B4-BE49-F238E27FC236}">
                  <a16:creationId xmlns:a16="http://schemas.microsoft.com/office/drawing/2014/main" id="{2ACD9AF2-6775-D81E-67C6-3FAE3A84D2F0}"/>
                </a:ext>
              </a:extLst>
            </p:cNvPr>
            <p:cNvCxnSpPr>
              <a:cxnSpLocks/>
            </p:cNvCxnSpPr>
            <p:nvPr/>
          </p:nvCxnSpPr>
          <p:spPr>
            <a:xfrm>
              <a:off x="8737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1" name="Straight Connector 520">
              <a:extLst>
                <a:ext uri="{FF2B5EF4-FFF2-40B4-BE49-F238E27FC236}">
                  <a16:creationId xmlns:a16="http://schemas.microsoft.com/office/drawing/2014/main" id="{A24E4C60-5323-F4AE-D168-9648B906A0FE}"/>
                </a:ext>
              </a:extLst>
            </p:cNvPr>
            <p:cNvCxnSpPr>
              <a:cxnSpLocks/>
            </p:cNvCxnSpPr>
            <p:nvPr/>
          </p:nvCxnSpPr>
          <p:spPr>
            <a:xfrm>
              <a:off x="8940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2" name="Straight Connector 521">
              <a:extLst>
                <a:ext uri="{FF2B5EF4-FFF2-40B4-BE49-F238E27FC236}">
                  <a16:creationId xmlns:a16="http://schemas.microsoft.com/office/drawing/2014/main" id="{E50AB0FC-534C-D3DB-E0BD-D115C26EAEF6}"/>
                </a:ext>
              </a:extLst>
            </p:cNvPr>
            <p:cNvCxnSpPr>
              <a:cxnSpLocks/>
            </p:cNvCxnSpPr>
            <p:nvPr/>
          </p:nvCxnSpPr>
          <p:spPr>
            <a:xfrm>
              <a:off x="9144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3" name="Straight Connector 522">
              <a:extLst>
                <a:ext uri="{FF2B5EF4-FFF2-40B4-BE49-F238E27FC236}">
                  <a16:creationId xmlns:a16="http://schemas.microsoft.com/office/drawing/2014/main" id="{F52C71A5-BAD9-6299-F2CC-A3092D8AF72C}"/>
                </a:ext>
              </a:extLst>
            </p:cNvPr>
            <p:cNvCxnSpPr>
              <a:cxnSpLocks/>
            </p:cNvCxnSpPr>
            <p:nvPr/>
          </p:nvCxnSpPr>
          <p:spPr>
            <a:xfrm>
              <a:off x="9347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4" name="Straight Connector 523">
              <a:extLst>
                <a:ext uri="{FF2B5EF4-FFF2-40B4-BE49-F238E27FC236}">
                  <a16:creationId xmlns:a16="http://schemas.microsoft.com/office/drawing/2014/main" id="{958DA808-DB1C-A5DF-786E-35DA879E01B2}"/>
                </a:ext>
              </a:extLst>
            </p:cNvPr>
            <p:cNvCxnSpPr>
              <a:cxnSpLocks/>
            </p:cNvCxnSpPr>
            <p:nvPr/>
          </p:nvCxnSpPr>
          <p:spPr>
            <a:xfrm>
              <a:off x="9550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5" name="Straight Connector 524">
              <a:extLst>
                <a:ext uri="{FF2B5EF4-FFF2-40B4-BE49-F238E27FC236}">
                  <a16:creationId xmlns:a16="http://schemas.microsoft.com/office/drawing/2014/main" id="{0D2A8C18-9FE8-4DB1-5D24-938D1CBE0532}"/>
                </a:ext>
              </a:extLst>
            </p:cNvPr>
            <p:cNvCxnSpPr>
              <a:cxnSpLocks/>
            </p:cNvCxnSpPr>
            <p:nvPr/>
          </p:nvCxnSpPr>
          <p:spPr>
            <a:xfrm>
              <a:off x="9753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6" name="Straight Connector 525">
              <a:extLst>
                <a:ext uri="{FF2B5EF4-FFF2-40B4-BE49-F238E27FC236}">
                  <a16:creationId xmlns:a16="http://schemas.microsoft.com/office/drawing/2014/main" id="{81FE3DA7-A8A6-A2AA-0244-F8D144F2DFE4}"/>
                </a:ext>
              </a:extLst>
            </p:cNvPr>
            <p:cNvCxnSpPr>
              <a:cxnSpLocks/>
            </p:cNvCxnSpPr>
            <p:nvPr/>
          </p:nvCxnSpPr>
          <p:spPr>
            <a:xfrm>
              <a:off x="9956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7" name="Straight Connector 526">
              <a:extLst>
                <a:ext uri="{FF2B5EF4-FFF2-40B4-BE49-F238E27FC236}">
                  <a16:creationId xmlns:a16="http://schemas.microsoft.com/office/drawing/2014/main" id="{7A0DDFF9-3FDE-2371-6A58-6817E418C63E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8" name="Straight Connector 527">
              <a:extLst>
                <a:ext uri="{FF2B5EF4-FFF2-40B4-BE49-F238E27FC236}">
                  <a16:creationId xmlns:a16="http://schemas.microsoft.com/office/drawing/2014/main" id="{1056F508-FEDC-9851-D9E6-680BFAE34424}"/>
                </a:ext>
              </a:extLst>
            </p:cNvPr>
            <p:cNvCxnSpPr>
              <a:cxnSpLocks/>
            </p:cNvCxnSpPr>
            <p:nvPr/>
          </p:nvCxnSpPr>
          <p:spPr>
            <a:xfrm>
              <a:off x="10363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9" name="Straight Connector 528">
              <a:extLst>
                <a:ext uri="{FF2B5EF4-FFF2-40B4-BE49-F238E27FC236}">
                  <a16:creationId xmlns:a16="http://schemas.microsoft.com/office/drawing/2014/main" id="{EA7FC7C6-6083-F3E9-DA92-FD5975FDE657}"/>
                </a:ext>
              </a:extLst>
            </p:cNvPr>
            <p:cNvCxnSpPr>
              <a:cxnSpLocks/>
            </p:cNvCxnSpPr>
            <p:nvPr/>
          </p:nvCxnSpPr>
          <p:spPr>
            <a:xfrm>
              <a:off x="10566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0" name="Straight Connector 529">
              <a:extLst>
                <a:ext uri="{FF2B5EF4-FFF2-40B4-BE49-F238E27FC236}">
                  <a16:creationId xmlns:a16="http://schemas.microsoft.com/office/drawing/2014/main" id="{0938D311-D0F9-2FE8-416D-8A0E4AEE5202}"/>
                </a:ext>
              </a:extLst>
            </p:cNvPr>
            <p:cNvCxnSpPr>
              <a:cxnSpLocks/>
            </p:cNvCxnSpPr>
            <p:nvPr/>
          </p:nvCxnSpPr>
          <p:spPr>
            <a:xfrm>
              <a:off x="10769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1" name="Straight Connector 530">
              <a:extLst>
                <a:ext uri="{FF2B5EF4-FFF2-40B4-BE49-F238E27FC236}">
                  <a16:creationId xmlns:a16="http://schemas.microsoft.com/office/drawing/2014/main" id="{89DC6F78-7566-B6EC-D723-6968A570FA85}"/>
                </a:ext>
              </a:extLst>
            </p:cNvPr>
            <p:cNvCxnSpPr>
              <a:cxnSpLocks/>
            </p:cNvCxnSpPr>
            <p:nvPr/>
          </p:nvCxnSpPr>
          <p:spPr>
            <a:xfrm>
              <a:off x="10972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2" name="Straight Connector 531">
              <a:extLst>
                <a:ext uri="{FF2B5EF4-FFF2-40B4-BE49-F238E27FC236}">
                  <a16:creationId xmlns:a16="http://schemas.microsoft.com/office/drawing/2014/main" id="{04F4395C-D536-7412-DA27-27CB4D046A4F}"/>
                </a:ext>
              </a:extLst>
            </p:cNvPr>
            <p:cNvCxnSpPr>
              <a:cxnSpLocks/>
            </p:cNvCxnSpPr>
            <p:nvPr/>
          </p:nvCxnSpPr>
          <p:spPr>
            <a:xfrm>
              <a:off x="11176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3" name="Straight Connector 532">
              <a:extLst>
                <a:ext uri="{FF2B5EF4-FFF2-40B4-BE49-F238E27FC236}">
                  <a16:creationId xmlns:a16="http://schemas.microsoft.com/office/drawing/2014/main" id="{A56B4B0D-3455-81B5-8078-7B59160A4A7E}"/>
                </a:ext>
              </a:extLst>
            </p:cNvPr>
            <p:cNvCxnSpPr>
              <a:cxnSpLocks/>
            </p:cNvCxnSpPr>
            <p:nvPr/>
          </p:nvCxnSpPr>
          <p:spPr>
            <a:xfrm>
              <a:off x="11379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4" name="Straight Connector 533">
              <a:extLst>
                <a:ext uri="{FF2B5EF4-FFF2-40B4-BE49-F238E27FC236}">
                  <a16:creationId xmlns:a16="http://schemas.microsoft.com/office/drawing/2014/main" id="{71C11C32-989E-46E1-81D3-E3540A5E1417}"/>
                </a:ext>
              </a:extLst>
            </p:cNvPr>
            <p:cNvCxnSpPr>
              <a:cxnSpLocks/>
            </p:cNvCxnSpPr>
            <p:nvPr/>
          </p:nvCxnSpPr>
          <p:spPr>
            <a:xfrm>
              <a:off x="11582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5" name="Straight Connector 534">
              <a:extLst>
                <a:ext uri="{FF2B5EF4-FFF2-40B4-BE49-F238E27FC236}">
                  <a16:creationId xmlns:a16="http://schemas.microsoft.com/office/drawing/2014/main" id="{3B7FB739-3C16-D6AE-B634-448D38364454}"/>
                </a:ext>
              </a:extLst>
            </p:cNvPr>
            <p:cNvCxnSpPr>
              <a:cxnSpLocks/>
            </p:cNvCxnSpPr>
            <p:nvPr/>
          </p:nvCxnSpPr>
          <p:spPr>
            <a:xfrm>
              <a:off x="11785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6" name="Straight Connector 535">
              <a:extLst>
                <a:ext uri="{FF2B5EF4-FFF2-40B4-BE49-F238E27FC236}">
                  <a16:creationId xmlns:a16="http://schemas.microsoft.com/office/drawing/2014/main" id="{001067A1-DCFF-A844-2E14-B8C932B38B48}"/>
                </a:ext>
              </a:extLst>
            </p:cNvPr>
            <p:cNvCxnSpPr>
              <a:cxnSpLocks/>
            </p:cNvCxnSpPr>
            <p:nvPr/>
          </p:nvCxnSpPr>
          <p:spPr>
            <a:xfrm>
              <a:off x="11988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9" name="Master Title Placeholder">
            <a:extLst>
              <a:ext uri="{FF2B5EF4-FFF2-40B4-BE49-F238E27FC236}">
                <a16:creationId xmlns:a16="http://schemas.microsoft.com/office/drawing/2014/main" id="{C5F0EFB3-EE4E-0B07-F454-E6D44406F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332768"/>
            <a:ext cx="11088001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defTabSz="972000"/>
            <a:r>
              <a:rPr lang="en-US"/>
              <a:t>This is the title in 36pt</a:t>
            </a:r>
            <a:endParaRPr lang="en-US" dirty="0"/>
          </a:p>
        </p:txBody>
      </p:sp>
      <p:sp>
        <p:nvSpPr>
          <p:cNvPr id="2" name="empower - DO NOT DELETE!!!">
            <a:extLst>
              <a:ext uri="{FF2B5EF4-FFF2-40B4-BE49-F238E27FC236}">
                <a16:creationId xmlns:a16="http://schemas.microsoft.com/office/drawing/2014/main" id="{978CAA9E-CAAE-E314-D023-855631DDB452}"/>
              </a:ext>
            </a:extLst>
          </p:cNvPr>
          <p:cNvSpPr/>
          <p:nvPr>
            <p:custDataLst>
              <p:tags r:id="rId6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3200" tIns="203200" rIns="203200" bIns="203200" rtlCol="0" anchor="ctr"/>
          <a:lstStyle/>
          <a:p>
            <a:pPr lvl="0" algn="ctr" defTabSz="486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83702D8-C787-BB6D-E660-FE3EF595572A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US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US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5D2F2F-07C4-15CA-080C-498BFCC40B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000" y="1700808"/>
            <a:ext cx="11088001" cy="43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Body heading blue</a:t>
            </a:r>
          </a:p>
          <a:p>
            <a:pPr lvl="5"/>
            <a:r>
              <a:rPr lang="en-US"/>
              <a:t>Body heading light blue</a:t>
            </a:r>
          </a:p>
          <a:p>
            <a:pPr lvl="6"/>
            <a:r>
              <a:rPr lang="en-US"/>
              <a:t>Numbered</a:t>
            </a:r>
          </a:p>
          <a:p>
            <a:pPr lvl="7"/>
            <a:r>
              <a:rPr lang="en-US"/>
              <a:t>Numbered sub</a:t>
            </a:r>
          </a:p>
          <a:p>
            <a:pPr lvl="8"/>
            <a:r>
              <a:rPr lang="en-US"/>
              <a:t>Ninth level similar to subtitle</a:t>
            </a:r>
            <a:endParaRPr lang="en-US" dirty="0"/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7E20D2EC-CDD4-6ACF-993E-65381BD1BF63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3200" tIns="203200" rIns="203200" bIns="203200" rtlCol="0" anchor="ctr"/>
          <a:lstStyle/>
          <a:p>
            <a:pPr algn="ctr" defTabSz="486000">
              <a:lnSpc>
                <a:spcPct val="100000"/>
              </a:lnSpc>
              <a:spcAft>
                <a:spcPts val="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101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779" r:id="rId2"/>
    <p:sldLayoutId id="2147483802" r:id="rId3"/>
    <p:sldLayoutId id="2147483826" r:id="rId4"/>
    <p:sldLayoutId id="2147483790" r:id="rId5"/>
    <p:sldLayoutId id="2147483814" r:id="rId6"/>
    <p:sldLayoutId id="2147483778" r:id="rId7"/>
    <p:sldLayoutId id="2147483800" r:id="rId8"/>
    <p:sldLayoutId id="2147483827" r:id="rId9"/>
    <p:sldLayoutId id="2147483821" r:id="rId10"/>
    <p:sldLayoutId id="2147483782" r:id="rId11"/>
    <p:sldLayoutId id="2147483803" r:id="rId12"/>
    <p:sldLayoutId id="2147483828" r:id="rId13"/>
    <p:sldLayoutId id="2147483792" r:id="rId14"/>
    <p:sldLayoutId id="2147483815" r:id="rId15"/>
    <p:sldLayoutId id="2147483780" r:id="rId16"/>
    <p:sldLayoutId id="2147483804" r:id="rId17"/>
    <p:sldLayoutId id="2147483829" r:id="rId18"/>
    <p:sldLayoutId id="2147483791" r:id="rId19"/>
    <p:sldLayoutId id="2147483810" r:id="rId20"/>
    <p:sldLayoutId id="2147483772" r:id="rId21"/>
    <p:sldLayoutId id="2147483793" r:id="rId22"/>
    <p:sldLayoutId id="2147483816" r:id="rId23"/>
    <p:sldLayoutId id="2147483783" r:id="rId24"/>
    <p:sldLayoutId id="2147483805" r:id="rId25"/>
    <p:sldLayoutId id="2147483771" r:id="rId26"/>
    <p:sldLayoutId id="2147483794" r:id="rId27"/>
    <p:sldLayoutId id="2147483817" r:id="rId28"/>
    <p:sldLayoutId id="2147483781" r:id="rId29"/>
    <p:sldLayoutId id="2147483795" r:id="rId30"/>
    <p:sldLayoutId id="2147483822" r:id="rId31"/>
    <p:sldLayoutId id="2147483784" r:id="rId32"/>
    <p:sldLayoutId id="2147483806" r:id="rId33"/>
    <p:sldLayoutId id="2147483773" r:id="rId34"/>
    <p:sldLayoutId id="2147483796" r:id="rId35"/>
    <p:sldLayoutId id="2147483818" r:id="rId36"/>
    <p:sldLayoutId id="2147483785" r:id="rId37"/>
    <p:sldLayoutId id="2147483807" r:id="rId38"/>
    <p:sldLayoutId id="2147483830" r:id="rId39"/>
    <p:sldLayoutId id="2147483786" r:id="rId40"/>
    <p:sldLayoutId id="2147483811" r:id="rId41"/>
    <p:sldLayoutId id="2147483774" r:id="rId42"/>
    <p:sldLayoutId id="2147483797" r:id="rId43"/>
    <p:sldLayoutId id="2147483823" r:id="rId44"/>
    <p:sldLayoutId id="2147483787" r:id="rId45"/>
    <p:sldLayoutId id="2147483808" r:id="rId46"/>
    <p:sldLayoutId id="2147483775" r:id="rId47"/>
    <p:sldLayoutId id="2147483798" r:id="rId48"/>
    <p:sldLayoutId id="2147483819" r:id="rId49"/>
    <p:sldLayoutId id="2147483776" r:id="rId50"/>
    <p:sldLayoutId id="2147483801" r:id="rId51"/>
    <p:sldLayoutId id="2147483824" r:id="rId52"/>
    <p:sldLayoutId id="2147483788" r:id="rId53"/>
    <p:sldLayoutId id="2147483812" r:id="rId54"/>
    <p:sldLayoutId id="2147483777" r:id="rId55"/>
    <p:sldLayoutId id="2147483799" r:id="rId56"/>
    <p:sldLayoutId id="2147483820" r:id="rId57"/>
    <p:sldLayoutId id="2147483789" r:id="rId58"/>
    <p:sldLayoutId id="2147483809" r:id="rId59"/>
    <p:sldLayoutId id="2147483825" r:id="rId60"/>
  </p:sldLayoutIdLst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:a14="http://schemas.microsoft.com/office/drawing/2010/main" xmlns:p15="http://schemas.microsoft.com/office/powerpoint/2012/main"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3600" b="0" i="0" kern="1200" spc="0" baseline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2032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2032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252000" algn="l" defTabSz="2032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lang="en-US" sz="18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2032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lang="en-US" sz="18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2032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US" sz="2000" b="1" kern="1200" baseline="0" dirty="0">
          <a:solidFill>
            <a:schemeClr val="accent1"/>
          </a:solidFill>
          <a:latin typeface="+mj-lt"/>
          <a:ea typeface="+mn-ea"/>
          <a:cs typeface="+mn-cs"/>
        </a:defRPr>
      </a:lvl5pPr>
      <a:lvl6pPr marL="0" indent="0" algn="l" defTabSz="2032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US" sz="2000" b="1" kern="1200" baseline="0" noProof="0" dirty="0">
          <a:solidFill>
            <a:schemeClr val="accent2"/>
          </a:solidFill>
          <a:latin typeface="+mj-lt"/>
          <a:ea typeface="+mn-ea"/>
          <a:cs typeface="+mn-cs"/>
        </a:defRPr>
      </a:lvl6pPr>
      <a:lvl7pPr marL="250825" indent="-250825" algn="l" defTabSz="2032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Font typeface="+mj-lt"/>
        <a:buAutoNum type="arabicPeriod"/>
        <a:defRPr lang="en-US" sz="1800" b="0" kern="1200" baseline="0" noProof="0" dirty="0">
          <a:solidFill>
            <a:schemeClr val="accent1"/>
          </a:solidFill>
          <a:latin typeface="+mj-lt"/>
          <a:ea typeface="+mn-ea"/>
          <a:cs typeface="+mn-cs"/>
        </a:defRPr>
      </a:lvl7pPr>
      <a:lvl8pPr marL="504000" indent="-252000" algn="l" defTabSz="2032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Font typeface="+mj-lt"/>
        <a:buAutoNum type="alphaLcParenR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032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US" sz="2000" kern="1200" baseline="0" noProof="0" dirty="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lvl1pPr marL="0" indent="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03200" indent="-20320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Char char="§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20320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lang="en-US" sz="18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09600" indent="-203200" algn="l" defTabSz="203200" rtl="0" eaLnBrk="1" latinLnBrk="0" hangingPunct="1">
        <a:lnSpc>
          <a:spcPts val="2000"/>
        </a:lnSpc>
        <a:spcBef>
          <a:spcPts val="0"/>
        </a:spcBef>
        <a:spcAft>
          <a:spcPts val="400"/>
        </a:spcAft>
        <a:buFont typeface="Symbol" panose="05050102010706020507" pitchFamily="18" charset="2"/>
        <a:buChar char="-"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203200" rtl="0" eaLnBrk="1" latinLnBrk="0" hangingPunct="1">
        <a:lnSpc>
          <a:spcPts val="2000"/>
        </a:lnSpc>
        <a:spcBef>
          <a:spcPts val="0"/>
        </a:spcBef>
        <a:spcAft>
          <a:spcPts val="400"/>
        </a:spcAft>
        <a:buFontTx/>
        <a:buNone/>
        <a:defRPr lang="en-US" sz="14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406400" indent="-40640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 typeface="+mj-lt"/>
        <a:buAutoNum type="arabicPeriod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Tx/>
        <a:buNone/>
        <a:defRPr lang="en-US" sz="1800" b="0" kern="1200" baseline="0" noProof="0" dirty="0">
          <a:solidFill>
            <a:schemeClr val="accent1"/>
          </a:solidFill>
          <a:latin typeface="+mj-lt"/>
          <a:ea typeface="+mn-ea"/>
          <a:cs typeface="+mn-cs"/>
        </a:defRPr>
      </a:lvl7pPr>
      <a:lvl8pPr marL="0" indent="0" algn="l" defTabSz="203200" rtl="0" eaLnBrk="1" latinLnBrk="0" hangingPunct="1">
        <a:lnSpc>
          <a:spcPts val="3200"/>
        </a:lnSpc>
        <a:spcBef>
          <a:spcPts val="0"/>
        </a:spcBef>
        <a:spcAft>
          <a:spcPts val="1600"/>
        </a:spcAft>
        <a:buFontTx/>
        <a:buNone/>
        <a:defRPr lang="en-US" sz="24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03200" rtl="0" eaLnBrk="1" latinLnBrk="0" hangingPunct="1">
        <a:lnSpc>
          <a:spcPts val="4000"/>
        </a:lnSpc>
        <a:spcBef>
          <a:spcPts val="1600"/>
        </a:spcBef>
        <a:spcAft>
          <a:spcPts val="1600"/>
        </a:spcAft>
        <a:buFontTx/>
        <a:buNone/>
        <a:defRPr lang="en-US" sz="3600" kern="1200" baseline="0" noProof="0" dirty="0">
          <a:solidFill>
            <a:schemeClr val="accent1"/>
          </a:solidFill>
          <a:latin typeface="+mj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5" orient="horz" pos="799">
          <p15:clr>
            <a:srgbClr val="F26B43"/>
          </p15:clr>
        </p15:guide>
        <p15:guide id="7" orient="horz" pos="1071">
          <p15:clr>
            <a:srgbClr val="F26B43"/>
          </p15:clr>
        </p15:guide>
        <p15:guide id="8" orient="horz" pos="527" userDrawn="1">
          <p15:clr>
            <a:srgbClr val="5ACBF0"/>
          </p15:clr>
        </p15:guide>
        <p15:guide id="9" pos="733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image" Target="../media/image10.bin"/><Relationship Id="rId18" Type="http://schemas.openxmlformats.org/officeDocument/2006/relationships/image" Target="../media/image15.bin"/><Relationship Id="rId3" Type="http://schemas.openxmlformats.org/officeDocument/2006/relationships/tags" Target="../tags/tag31.xml"/><Relationship Id="rId21" Type="http://schemas.openxmlformats.org/officeDocument/2006/relationships/image" Target="../media/image18.bin"/><Relationship Id="rId7" Type="http://schemas.openxmlformats.org/officeDocument/2006/relationships/tags" Target="../tags/tag35.xml"/><Relationship Id="rId12" Type="http://schemas.openxmlformats.org/officeDocument/2006/relationships/image" Target="../media/image9.bin"/><Relationship Id="rId17" Type="http://schemas.openxmlformats.org/officeDocument/2006/relationships/image" Target="../media/image14.bin"/><Relationship Id="rId2" Type="http://schemas.openxmlformats.org/officeDocument/2006/relationships/tags" Target="../tags/tag30.xml"/><Relationship Id="rId16" Type="http://schemas.openxmlformats.org/officeDocument/2006/relationships/image" Target="../media/image13.bin"/><Relationship Id="rId20" Type="http://schemas.openxmlformats.org/officeDocument/2006/relationships/image" Target="../media/image17.bin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33.xml"/><Relationship Id="rId15" Type="http://schemas.openxmlformats.org/officeDocument/2006/relationships/image" Target="../media/image12.bin"/><Relationship Id="rId10" Type="http://schemas.openxmlformats.org/officeDocument/2006/relationships/slideLayout" Target="../slideLayouts/slideLayout5.xml"/><Relationship Id="rId19" Type="http://schemas.openxmlformats.org/officeDocument/2006/relationships/image" Target="../media/image16.bin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image" Target="../media/image1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empower.express" TargetMode="External"/><Relationship Id="rId2" Type="http://schemas.openxmlformats.org/officeDocument/2006/relationships/slideLayout" Target="../slideLayouts/slideLayout60.xml"/><Relationship Id="rId1" Type="http://schemas.openxmlformats.org/officeDocument/2006/relationships/tags" Target="../tags/tag1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5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bin"/><Relationship Id="rId3" Type="http://schemas.openxmlformats.org/officeDocument/2006/relationships/tags" Target="../tags/tag124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slideLayout" Target="../slideLayouts/slideLayout15.xml"/><Relationship Id="rId5" Type="http://schemas.openxmlformats.org/officeDocument/2006/relationships/tags" Target="../tags/tag126.xml"/><Relationship Id="rId4" Type="http://schemas.openxmlformats.org/officeDocument/2006/relationships/tags" Target="../tags/tag12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4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oom.com/share/48f5b21c6bb64ec2ba7f9a5897ad0f6c?sid=222b6b31-fe2d-4999-91e3-a7d39a9481e9" TargetMode="External"/><Relationship Id="rId3" Type="http://schemas.openxmlformats.org/officeDocument/2006/relationships/tags" Target="../tags/tag41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slideLayout" Target="../slideLayouts/slideLayout118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image" Target="../media/image7.bin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image" Target="../media/image19.png"/><Relationship Id="rId3" Type="http://schemas.openxmlformats.org/officeDocument/2006/relationships/tags" Target="../tags/tag46.xml"/><Relationship Id="rId21" Type="http://schemas.openxmlformats.org/officeDocument/2006/relationships/tags" Target="../tags/tag64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notesSlide" Target="../notesSlides/notesSlide4.xml"/><Relationship Id="rId33" Type="http://schemas.openxmlformats.org/officeDocument/2006/relationships/image" Target="../media/image26.bin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tags" Target="../tags/tag63.xml"/><Relationship Id="rId29" Type="http://schemas.openxmlformats.org/officeDocument/2006/relationships/image" Target="../media/image22.bin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slideLayout" Target="../slideLayouts/slideLayout14.xml"/><Relationship Id="rId32" Type="http://schemas.openxmlformats.org/officeDocument/2006/relationships/image" Target="../media/image25.png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tags" Target="../tags/tag66.xml"/><Relationship Id="rId28" Type="http://schemas.openxmlformats.org/officeDocument/2006/relationships/image" Target="../media/image21.png"/><Relationship Id="rId10" Type="http://schemas.openxmlformats.org/officeDocument/2006/relationships/tags" Target="../tags/tag53.xml"/><Relationship Id="rId19" Type="http://schemas.openxmlformats.org/officeDocument/2006/relationships/tags" Target="../tags/tag62.xml"/><Relationship Id="rId31" Type="http://schemas.openxmlformats.org/officeDocument/2006/relationships/image" Target="../media/image24.bin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tags" Target="../tags/tag65.xml"/><Relationship Id="rId27" Type="http://schemas.openxmlformats.org/officeDocument/2006/relationships/image" Target="../media/image20.bin"/><Relationship Id="rId30" Type="http://schemas.openxmlformats.org/officeDocument/2006/relationships/image" Target="../media/image23.png"/><Relationship Id="rId8" Type="http://schemas.openxmlformats.org/officeDocument/2006/relationships/tags" Target="../tags/tag5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tags" Target="../tags/tag79.xml"/><Relationship Id="rId18" Type="http://schemas.openxmlformats.org/officeDocument/2006/relationships/tags" Target="../tags/tag84.xml"/><Relationship Id="rId26" Type="http://schemas.openxmlformats.org/officeDocument/2006/relationships/tags" Target="../tags/tag92.xml"/><Relationship Id="rId3" Type="http://schemas.openxmlformats.org/officeDocument/2006/relationships/tags" Target="../tags/tag69.xml"/><Relationship Id="rId21" Type="http://schemas.openxmlformats.org/officeDocument/2006/relationships/tags" Target="../tags/tag87.xml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tags" Target="../tags/tag83.xml"/><Relationship Id="rId25" Type="http://schemas.openxmlformats.org/officeDocument/2006/relationships/tags" Target="../tags/tag91.xml"/><Relationship Id="rId2" Type="http://schemas.openxmlformats.org/officeDocument/2006/relationships/tags" Target="../tags/tag68.xml"/><Relationship Id="rId16" Type="http://schemas.openxmlformats.org/officeDocument/2006/relationships/tags" Target="../tags/tag82.xml"/><Relationship Id="rId20" Type="http://schemas.openxmlformats.org/officeDocument/2006/relationships/tags" Target="../tags/tag86.xml"/><Relationship Id="rId29" Type="http://schemas.openxmlformats.org/officeDocument/2006/relationships/slideLayout" Target="../slideLayouts/slideLayout134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24" Type="http://schemas.openxmlformats.org/officeDocument/2006/relationships/tags" Target="../tags/tag90.xml"/><Relationship Id="rId5" Type="http://schemas.openxmlformats.org/officeDocument/2006/relationships/tags" Target="../tags/tag71.xml"/><Relationship Id="rId15" Type="http://schemas.openxmlformats.org/officeDocument/2006/relationships/tags" Target="../tags/tag81.xml"/><Relationship Id="rId23" Type="http://schemas.openxmlformats.org/officeDocument/2006/relationships/tags" Target="../tags/tag89.xml"/><Relationship Id="rId28" Type="http://schemas.openxmlformats.org/officeDocument/2006/relationships/tags" Target="../tags/tag94.xml"/><Relationship Id="rId10" Type="http://schemas.openxmlformats.org/officeDocument/2006/relationships/tags" Target="../tags/tag76.xml"/><Relationship Id="rId19" Type="http://schemas.openxmlformats.org/officeDocument/2006/relationships/tags" Target="../tags/tag85.xml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Relationship Id="rId22" Type="http://schemas.openxmlformats.org/officeDocument/2006/relationships/tags" Target="../tags/tag88.xml"/><Relationship Id="rId27" Type="http://schemas.openxmlformats.org/officeDocument/2006/relationships/tags" Target="../tags/tag93.xml"/><Relationship Id="rId30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bin"/><Relationship Id="rId3" Type="http://schemas.openxmlformats.org/officeDocument/2006/relationships/tags" Target="../tags/tag97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slideLayout" Target="../slideLayouts/slideLayout15.xml"/><Relationship Id="rId5" Type="http://schemas.openxmlformats.org/officeDocument/2006/relationships/tags" Target="../tags/tag99.xml"/><Relationship Id="rId4" Type="http://schemas.openxmlformats.org/officeDocument/2006/relationships/tags" Target="../tags/tag98.xml"/><Relationship Id="rId9" Type="http://schemas.openxmlformats.org/officeDocument/2006/relationships/image" Target="../media/image2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29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105.xml"/><Relationship Id="rId7" Type="http://schemas.openxmlformats.org/officeDocument/2006/relationships/slideLayout" Target="../slideLayouts/slideLayout14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4" Type="http://schemas.openxmlformats.org/officeDocument/2006/relationships/tags" Target="../tags/tag106.xml"/><Relationship Id="rId9" Type="http://schemas.openxmlformats.org/officeDocument/2006/relationships/image" Target="../media/image30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13" Type="http://schemas.openxmlformats.org/officeDocument/2006/relationships/hyperlink" Target="mailto:info@empower.express" TargetMode="Externa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12" Type="http://schemas.openxmlformats.org/officeDocument/2006/relationships/notesSlide" Target="../notesSlides/notesSlide9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11" Type="http://schemas.openxmlformats.org/officeDocument/2006/relationships/slideLayout" Target="../slideLayouts/slideLayout32.xml"/><Relationship Id="rId5" Type="http://schemas.openxmlformats.org/officeDocument/2006/relationships/tags" Target="../tags/tag113.xml"/><Relationship Id="rId10" Type="http://schemas.openxmlformats.org/officeDocument/2006/relationships/tags" Target="../tags/tag118.xml"/><Relationship Id="rId4" Type="http://schemas.openxmlformats.org/officeDocument/2006/relationships/tags" Target="../tags/tag112.xml"/><Relationship Id="rId9" Type="http://schemas.openxmlformats.org/officeDocument/2006/relationships/tags" Target="../tags/tag1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1AFF1631-B803-68E6-E33B-6987C7FEC90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" b="69"/>
          <a:stretch/>
        </p:blipFill>
        <p:spPr/>
      </p:pic>
      <p:sp>
        <p:nvSpPr>
          <p:cNvPr id="7" name="Subtitle 6">
            <a:extLst>
              <a:ext uri="{FF2B5EF4-FFF2-40B4-BE49-F238E27FC236}">
                <a16:creationId xmlns:a16="http://schemas.microsoft.com/office/drawing/2014/main" id="{C5118821-5055-0090-2D8B-952E34FFF5D2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1. Stay on brand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36EA734-1712-6F9E-4CE0-A6D2A033059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Branding concerns and issu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9009EF4-BE91-1544-C954-6416B2CB3270}"/>
              </a:ext>
            </a:extLst>
          </p:cNvPr>
          <p:cNvSpPr/>
          <p:nvPr/>
        </p:nvSpPr>
        <p:spPr>
          <a:xfrm>
            <a:off x="8324826" y="0"/>
            <a:ext cx="3867173" cy="6858000"/>
          </a:xfrm>
          <a:prstGeom prst="rect">
            <a:avLst/>
          </a:prstGeom>
          <a:gradFill flip="none" rotWithShape="1">
            <a:gsLst>
              <a:gs pos="37000">
                <a:schemeClr val="accent6">
                  <a:lumMod val="10000"/>
                  <a:alpha val="0"/>
                </a:schemeClr>
              </a:gs>
              <a:gs pos="0">
                <a:schemeClr val="tx1">
                  <a:alpha val="62397"/>
                </a:schemeClr>
              </a:gs>
            </a:gsLst>
            <a:lin ang="7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Logo">
            <a:extLst>
              <a:ext uri="{FF2B5EF4-FFF2-40B4-BE49-F238E27FC236}">
                <a16:creationId xmlns:a16="http://schemas.microsoft.com/office/drawing/2014/main" id="{8DD4026E-5BD7-BC24-C7AE-5C582787CB82}"/>
              </a:ext>
            </a:extLst>
          </p:cNvPr>
          <p:cNvSpPr/>
          <p:nvPr/>
        </p:nvSpPr>
        <p:spPr bwMode="black">
          <a:xfrm>
            <a:off x="9211095" y="767924"/>
            <a:ext cx="2442107" cy="660400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53E1FB8-32AC-55A8-99E6-18A60F7BF34D}"/>
              </a:ext>
            </a:extLst>
          </p:cNvPr>
          <p:cNvGrpSpPr/>
          <p:nvPr/>
        </p:nvGrpSpPr>
        <p:grpSpPr>
          <a:xfrm>
            <a:off x="7513275" y="5957741"/>
            <a:ext cx="4176075" cy="905350"/>
            <a:chOff x="7513275" y="5957741"/>
            <a:chExt cx="4176075" cy="905350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F284E715-2290-843C-2F73-1D134422E896}"/>
                </a:ext>
              </a:extLst>
            </p:cNvPr>
            <p:cNvGrpSpPr/>
            <p:nvPr/>
          </p:nvGrpSpPr>
          <p:grpSpPr>
            <a:xfrm>
              <a:off x="7513666" y="5957741"/>
              <a:ext cx="4175684" cy="900259"/>
              <a:chOff x="7513666" y="5965525"/>
              <a:chExt cx="4175684" cy="900259"/>
            </a:xfrm>
          </p:grpSpPr>
          <p:pic>
            <p:nvPicPr>
              <p:cNvPr id="3" name="Picture 2" descr="A green and white background with white text&#10;&#10;Description automatically generated">
                <a:extLst>
                  <a:ext uri="{FF2B5EF4-FFF2-40B4-BE49-F238E27FC236}">
                    <a16:creationId xmlns:a16="http://schemas.microsoft.com/office/drawing/2014/main" id="{45A0BDF3-D4CE-C02A-2F5F-4E8BF997CE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330303" y="6412767"/>
                <a:ext cx="1359047" cy="453016"/>
              </a:xfrm>
              <a:prstGeom prst="rect">
                <a:avLst/>
              </a:prstGeom>
            </p:spPr>
          </p:pic>
          <p:pic>
            <p:nvPicPr>
              <p:cNvPr id="4" name="Picture 3" descr="A blue background with white text&#10;&#10;Description automatically generated">
                <a:extLst>
                  <a:ext uri="{FF2B5EF4-FFF2-40B4-BE49-F238E27FC236}">
                    <a16:creationId xmlns:a16="http://schemas.microsoft.com/office/drawing/2014/main" id="{4C870136-E0EF-1C4A-E7FC-4CB47F32AC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513666" y="5965525"/>
                <a:ext cx="1350388" cy="900259"/>
              </a:xfrm>
              <a:prstGeom prst="rect">
                <a:avLst/>
              </a:prstGeom>
            </p:spPr>
          </p:pic>
          <p:pic>
            <p:nvPicPr>
              <p:cNvPr id="5" name="Picture 4" descr="A close up of a sign&#10;&#10;Description automatically generated">
                <a:extLst>
                  <a:ext uri="{FF2B5EF4-FFF2-40B4-BE49-F238E27FC236}">
                    <a16:creationId xmlns:a16="http://schemas.microsoft.com/office/drawing/2014/main" id="{1A039B9E-DC0B-8EB9-D27F-F36BD4AF52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931209" y="6420885"/>
                <a:ext cx="1334693" cy="444898"/>
              </a:xfrm>
              <a:prstGeom prst="rect">
                <a:avLst/>
              </a:prstGeom>
            </p:spPr>
          </p:pic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C909CB2-378D-C519-062A-46F29856B455}"/>
                </a:ext>
              </a:extLst>
            </p:cNvPr>
            <p:cNvGrpSpPr/>
            <p:nvPr/>
          </p:nvGrpSpPr>
          <p:grpSpPr>
            <a:xfrm>
              <a:off x="10331719" y="6413091"/>
              <a:ext cx="1350000" cy="444909"/>
              <a:chOff x="10331719" y="6413091"/>
              <a:chExt cx="1350000" cy="444909"/>
            </a:xfrm>
          </p:grpSpPr>
          <p:pic>
            <p:nvPicPr>
              <p:cNvPr id="16" name="Picture 15" descr="A green and blue background with white text&#10;&#10;Description automatically generated">
                <a:extLst>
                  <a:ext uri="{FF2B5EF4-FFF2-40B4-BE49-F238E27FC236}">
                    <a16:creationId xmlns:a16="http://schemas.microsoft.com/office/drawing/2014/main" id="{852368BC-5AF9-123C-9800-8F8BB34FE3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331719" y="6413092"/>
                <a:ext cx="1350000" cy="444908"/>
              </a:xfrm>
              <a:prstGeom prst="rect">
                <a:avLst/>
              </a:prstGeom>
            </p:spPr>
          </p:pic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64F0E820-75AE-E950-97E8-F356BF3A68E4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10331719" y="6469489"/>
                <a:ext cx="1069433" cy="324000"/>
              </a:xfrm>
              <a:prstGeom prst="rect">
                <a:avLst/>
              </a:prstGeom>
              <a:solidFill>
                <a:schemeClr val="accent6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0000" tIns="46800" rIns="90000" bIns="46800" rtlCol="0" anchor="ctr"/>
              <a:lstStyle/>
              <a:p>
                <a:pPr defTabSz="486000">
                  <a:lnSpc>
                    <a:spcPct val="100000"/>
                  </a:lnSpc>
                  <a:spcAft>
                    <a:spcPts val="0"/>
                  </a:spcAft>
                </a:pPr>
                <a:r>
                  <a:rPr lang="en-US" sz="1100" dirty="0">
                    <a:solidFill>
                      <a:schemeClr val="bg1"/>
                    </a:solidFill>
                    <a:latin typeface="Segoe UI Semibold" panose="020B0702040204020203" pitchFamily="34" charset="0"/>
                  </a:rPr>
                  <a:t>Content</a:t>
                </a:r>
                <a:br>
                  <a:rPr lang="en-US" sz="1100" dirty="0">
                    <a:solidFill>
                      <a:schemeClr val="bg1"/>
                    </a:solidFill>
                    <a:latin typeface="Segoe UI Semibold" panose="020B0702040204020203" pitchFamily="34" charset="0"/>
                  </a:rPr>
                </a:br>
                <a:r>
                  <a:rPr lang="en-US" sz="1100" dirty="0">
                    <a:solidFill>
                      <a:schemeClr val="bg1"/>
                    </a:solidFill>
                    <a:latin typeface="Segoe UI Semibold" panose="020B0702040204020203" pitchFamily="34" charset="0"/>
                  </a:rPr>
                  <a:t>Enablement</a:t>
                </a:r>
              </a:p>
            </p:txBody>
          </p: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392E18B2-49B3-F75D-A48E-044C510DFD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11263426" y="6413091"/>
                <a:ext cx="381429" cy="360000"/>
              </a:xfrm>
              <a:prstGeom prst="rect">
                <a:avLst/>
              </a:prstGeom>
            </p:spPr>
          </p:pic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4ABC0C4-8736-2236-81F1-87DF631DA4B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13275" y="5963091"/>
              <a:ext cx="1350390" cy="900000"/>
              <a:chOff x="5329043" y="5778000"/>
              <a:chExt cx="1620468" cy="1080000"/>
            </a:xfrm>
          </p:grpSpPr>
          <p:grpSp>
            <p:nvGrpSpPr>
              <p:cNvPr id="12" name="Flag - Brand Control">
                <a:extLst>
                  <a:ext uri="{FF2B5EF4-FFF2-40B4-BE49-F238E27FC236}">
                    <a16:creationId xmlns:a16="http://schemas.microsoft.com/office/drawing/2014/main" id="{C915D63C-F2D7-847E-3528-4B17451548F7}"/>
                  </a:ext>
                </a:extLst>
              </p:cNvPr>
              <p:cNvGrpSpPr/>
              <p:nvPr>
                <p:custDataLst>
                  <p:tags r:id="rId7"/>
                </p:custDataLst>
              </p:nvPr>
            </p:nvGrpSpPr>
            <p:grpSpPr>
              <a:xfrm>
                <a:off x="5329043" y="5778000"/>
                <a:ext cx="1620468" cy="1080000"/>
                <a:chOff x="8320370" y="1780869"/>
                <a:chExt cx="1620468" cy="1080000"/>
              </a:xfrm>
            </p:grpSpPr>
            <p:pic>
              <p:nvPicPr>
                <p:cNvPr id="13" name="Picture 12" descr="A blue background with white text&#10;&#10;Description automatically generated">
                  <a:extLst>
                    <a:ext uri="{FF2B5EF4-FFF2-40B4-BE49-F238E27FC236}">
                      <a16:creationId xmlns:a16="http://schemas.microsoft.com/office/drawing/2014/main" id="{CC861B65-A52E-783F-8F36-836EEECD1F8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320838" y="1780869"/>
                  <a:ext cx="1620000" cy="1080000"/>
                </a:xfrm>
                <a:prstGeom prst="rect">
                  <a:avLst/>
                </a:prstGeom>
              </p:spPr>
            </p:pic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92BA34AC-50E4-16BD-266D-FC3153364CC5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8320370" y="2031784"/>
                  <a:ext cx="1008000" cy="576000"/>
                </a:xfrm>
                <a:prstGeom prst="rect">
                  <a:avLst/>
                </a:prstGeom>
                <a:solidFill>
                  <a:schemeClr val="accent3"/>
                </a:solidFill>
                <a:ln w="9525" cap="flat" cmpd="sng" algn="ctr">
                  <a:noFill/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0000" tIns="46800" rIns="90000" bIns="46800" rtlCol="0" anchor="ctr"/>
                <a:lstStyle/>
                <a:p>
                  <a:pPr defTabSz="486000">
                    <a:lnSpc>
                      <a:spcPct val="100000"/>
                    </a:lnSpc>
                    <a:spcAft>
                      <a:spcPts val="0"/>
                    </a:spcAft>
                  </a:pPr>
                  <a:r>
                    <a:rPr lang="en-US" sz="1100" dirty="0">
                      <a:solidFill>
                        <a:schemeClr val="bg1"/>
                      </a:solidFill>
                      <a:latin typeface="Segoe UI Semibold" panose="020B0702040204020203" pitchFamily="34" charset="0"/>
                    </a:rPr>
                    <a:t>Brand Control</a:t>
                  </a:r>
                </a:p>
              </p:txBody>
            </p:sp>
          </p:grp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C12EBBEB-46AB-EE3E-2A21-6405250EF7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6535538" y="5877103"/>
                <a:ext cx="375454" cy="396000"/>
              </a:xfrm>
              <a:prstGeom prst="rect">
                <a:avLst/>
              </a:prstGeom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E3B649DF-18F1-8F98-52A3-E68011D7681D}"/>
                </a:ext>
              </a:extLst>
            </p:cNvPr>
            <p:cNvGrpSpPr/>
            <p:nvPr/>
          </p:nvGrpSpPr>
          <p:grpSpPr>
            <a:xfrm>
              <a:off x="8915513" y="6413092"/>
              <a:ext cx="1350389" cy="443812"/>
              <a:chOff x="8915513" y="6413092"/>
              <a:chExt cx="1350389" cy="443812"/>
            </a:xfrm>
          </p:grpSpPr>
          <p:pic>
            <p:nvPicPr>
              <p:cNvPr id="10" name="Picture 9" descr="A orange background with white text&#10;&#10;Description automatically generated">
                <a:extLst>
                  <a:ext uri="{FF2B5EF4-FFF2-40B4-BE49-F238E27FC236}">
                    <a16:creationId xmlns:a16="http://schemas.microsoft.com/office/drawing/2014/main" id="{765E3FD5-3961-BF42-0227-1768F4E48C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915513" y="6413092"/>
                <a:ext cx="1350389" cy="443812"/>
              </a:xfrm>
              <a:prstGeom prst="rect">
                <a:avLst/>
              </a:prstGeom>
            </p:spPr>
          </p:pic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986E42AA-AD6B-9655-621D-09E4638A4E2C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>
              <a:xfrm>
                <a:off x="8915513" y="6469489"/>
                <a:ext cx="840242" cy="324000"/>
              </a:xfrm>
              <a:prstGeom prst="rect">
                <a:avLst/>
              </a:prstGeom>
              <a:solidFill>
                <a:schemeClr val="accent4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0000" tIns="46800" rIns="90000" bIns="46800" rtlCol="0" anchor="ctr"/>
              <a:lstStyle/>
              <a:p>
                <a:pPr defTabSz="486000">
                  <a:lnSpc>
                    <a:spcPct val="100000"/>
                  </a:lnSpc>
                  <a:spcAft>
                    <a:spcPts val="0"/>
                  </a:spcAft>
                </a:pPr>
                <a:r>
                  <a:rPr lang="en-US" sz="1100" dirty="0">
                    <a:solidFill>
                      <a:schemeClr val="bg1"/>
                    </a:solidFill>
                    <a:latin typeface="Segoe UI Semibold" panose="020B0702040204020203" pitchFamily="34" charset="0"/>
                  </a:rPr>
                  <a:t>Content Creation</a:t>
                </a:r>
              </a:p>
            </p:txBody>
          </p: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5D883C5E-FC1C-8B88-9157-12D8A1ECEC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9858315" y="6436501"/>
                <a:ext cx="360104" cy="290037"/>
              </a:xfrm>
              <a:prstGeom prst="rect">
                <a:avLst/>
              </a:prstGeom>
            </p:spPr>
          </p:pic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E0B3E59-5C17-B0E3-9913-780A2693945A}"/>
              </a:ext>
            </a:extLst>
          </p:cNvPr>
          <p:cNvGrpSpPr/>
          <p:nvPr/>
        </p:nvGrpSpPr>
        <p:grpSpPr>
          <a:xfrm>
            <a:off x="5058509" y="2663602"/>
            <a:ext cx="963637" cy="696351"/>
            <a:chOff x="5058509" y="2663602"/>
            <a:chExt cx="963637" cy="696351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6F7478CE-BE20-ECE9-65E6-CAB945250A39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5058509" y="2663602"/>
              <a:ext cx="963637" cy="696351"/>
            </a:xfrm>
            <a:prstGeom prst="roundRect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" rIns="90000" bIns="46800" rtlCol="0" anchor="ctr"/>
            <a:lstStyle/>
            <a:p>
              <a:pPr algn="ctr" defTabSz="486000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</a:pPr>
              <a:endParaRPr lang="en-US" sz="1400" dirty="0" err="1">
                <a:solidFill>
                  <a:schemeClr val="accent5"/>
                </a:solidFill>
              </a:endParaRPr>
            </a:p>
          </p:txBody>
        </p:sp>
        <p:sp>
          <p:nvSpPr>
            <p:cNvPr id="25" name="Isosceles Triangle 24">
              <a:extLst>
                <a:ext uri="{FF2B5EF4-FFF2-40B4-BE49-F238E27FC236}">
                  <a16:creationId xmlns:a16="http://schemas.microsoft.com/office/drawing/2014/main" id="{6375D8BD-F6AF-6BFE-014D-D0933E014C07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5400000">
              <a:off x="5348726" y="2834374"/>
              <a:ext cx="383202" cy="354806"/>
            </a:xfrm>
            <a:prstGeom prst="triangl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" rIns="90000" bIns="46800" rtlCol="0" anchor="ctr"/>
            <a:lstStyle/>
            <a:p>
              <a:pPr algn="ctr" defTabSz="486000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</a:pPr>
              <a:endParaRPr lang="en-US" sz="1400" dirty="0" err="1">
                <a:solidFill>
                  <a:schemeClr val="bg1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86752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4="http://schemas.microsoft.com/office/drawing/2010/main" xmlns:a16="http://schemas.microsoft.com/office/drawing/2014/main"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IO_OBJECT3">
            <a:extLst>
              <a:ext uri="{FF2B5EF4-FFF2-40B4-BE49-F238E27FC236}">
                <a16:creationId xmlns:a16="http://schemas.microsoft.com/office/drawing/2014/main" id="{8A8C1250-CF83-6F78-E288-8A516DAD17AD}"/>
              </a:ext>
            </a:extLst>
          </p:cNvPr>
          <p:cNvSpPr/>
          <p:nvPr/>
        </p:nvSpPr>
        <p:spPr>
          <a:xfrm>
            <a:off x="848149" y="5514138"/>
            <a:ext cx="10273692" cy="720000"/>
          </a:xfrm>
          <a:prstGeom prst="roundRect">
            <a:avLst/>
          </a:prstGeom>
          <a:solidFill>
            <a:srgbClr val="FFFFFF">
              <a:alpha val="4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72000" rIns="72000" bIns="72000" rtlCol="0" anchor="ctr"/>
          <a:lstStyle/>
          <a:p>
            <a:pPr algn="ctr"/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mail us on </a:t>
            </a: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empower.express</a:t>
            </a:r>
            <a:endParaRPr lang="en-US" sz="2000">
              <a:solidFill>
                <a:schemeClr val="tx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3946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hyp="http://schemas.microsoft.com/office/drawing/2018/hyperlinkcolor" xmlns:a16="http://schemas.microsoft.com/office/drawing/2014/main"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A3682AD-FDCE-F3FB-0D82-EEC0C1217253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lvl="1"/>
            <a:r>
              <a:rPr lang="en-US" dirty="0"/>
              <a:t>Introduction to empower</a:t>
            </a:r>
          </a:p>
          <a:p>
            <a:pPr lvl="1"/>
            <a:r>
              <a:rPr lang="en-US" dirty="0"/>
              <a:t>Toolbar overview</a:t>
            </a:r>
          </a:p>
          <a:p>
            <a:pPr lvl="1"/>
            <a:r>
              <a:rPr lang="en-US" dirty="0"/>
              <a:t>Functionality overview</a:t>
            </a:r>
          </a:p>
          <a:p>
            <a:pPr lvl="1"/>
            <a:r>
              <a:rPr lang="en-US" dirty="0"/>
              <a:t>What makes a good template</a:t>
            </a:r>
          </a:p>
          <a:p>
            <a:pPr lvl="1"/>
            <a:r>
              <a:rPr lang="en-US" dirty="0"/>
              <a:t>Setting up libraries - detail</a:t>
            </a:r>
          </a:p>
          <a:p>
            <a:pPr lvl="1"/>
            <a:r>
              <a:rPr lang="en-US" dirty="0"/>
              <a:t>Saving content to the library (including bulk uploading)</a:t>
            </a:r>
          </a:p>
          <a:p>
            <a:pPr lvl="1"/>
            <a:r>
              <a:rPr lang="en-US" dirty="0"/>
              <a:t>Using libraries</a:t>
            </a:r>
          </a:p>
          <a:p>
            <a:pPr lvl="1"/>
            <a:r>
              <a:rPr lang="en-US" dirty="0"/>
              <a:t>The design check</a:t>
            </a:r>
          </a:p>
          <a:p>
            <a:pPr lvl="1"/>
            <a:r>
              <a:rPr lang="en-US" dirty="0"/>
              <a:t>Link to full manual</a:t>
            </a:r>
          </a:p>
          <a:p>
            <a:pPr lvl="1"/>
            <a:r>
              <a:rPr lang="en-US"/>
              <a:t>Any other useful videos</a:t>
            </a:r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BDE78D8-FC6F-56AF-DA7D-2B61C1F9F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 for learn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029E4B-58BC-9AF6-E03B-FDAB08597C8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Additional videos and information</a:t>
            </a:r>
          </a:p>
        </p:txBody>
      </p:sp>
      <p:grpSp>
        <p:nvGrpSpPr>
          <p:cNvPr id="6" name="Post-it Yellow">
            <a:extLst>
              <a:ext uri="{FF2B5EF4-FFF2-40B4-BE49-F238E27FC236}">
                <a16:creationId xmlns:a16="http://schemas.microsoft.com/office/drawing/2014/main" id="{89408DAC-D71E-6A05-1C48-9CFFDC89EA32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>
          <a:xfrm>
            <a:off x="4000987" y="2060040"/>
            <a:ext cx="3933548" cy="3426362"/>
            <a:chOff x="5211890" y="1700808"/>
            <a:chExt cx="2021028" cy="1760439"/>
          </a:xfrm>
        </p:grpSpPr>
        <p:sp>
          <p:nvSpPr>
            <p:cNvPr id="7" name="Freeform: Shape 85">
              <a:extLst>
                <a:ext uri="{FF2B5EF4-FFF2-40B4-BE49-F238E27FC236}">
                  <a16:creationId xmlns:a16="http://schemas.microsoft.com/office/drawing/2014/main" id="{25067B90-147D-2F3F-8DD8-AC381D1047FC}"/>
                </a:ext>
              </a:extLst>
            </p:cNvPr>
            <p:cNvSpPr/>
            <p:nvPr/>
          </p:nvSpPr>
          <p:spPr>
            <a:xfrm>
              <a:off x="5294356" y="3248266"/>
              <a:ext cx="1856097" cy="212981"/>
            </a:xfrm>
            <a:custGeom>
              <a:avLst/>
              <a:gdLst>
                <a:gd name="connsiteX0" fmla="*/ 0 w 2812473"/>
                <a:gd name="connsiteY0" fmla="*/ 0 h 599217"/>
                <a:gd name="connsiteX1" fmla="*/ 2812473 w 2812473"/>
                <a:gd name="connsiteY1" fmla="*/ 0 h 599217"/>
                <a:gd name="connsiteX2" fmla="*/ 2812473 w 2812473"/>
                <a:gd name="connsiteY2" fmla="*/ 599216 h 599217"/>
                <a:gd name="connsiteX3" fmla="*/ 2785085 w 2812473"/>
                <a:gd name="connsiteY3" fmla="*/ 584277 h 599217"/>
                <a:gd name="connsiteX4" fmla="*/ 1406237 w 2812473"/>
                <a:gd name="connsiteY4" fmla="*/ 301128 h 599217"/>
                <a:gd name="connsiteX5" fmla="*/ 27389 w 2812473"/>
                <a:gd name="connsiteY5" fmla="*/ 584277 h 599217"/>
                <a:gd name="connsiteX6" fmla="*/ 0 w 2812473"/>
                <a:gd name="connsiteY6" fmla="*/ 599217 h 59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12473" h="599217">
                  <a:moveTo>
                    <a:pt x="0" y="0"/>
                  </a:moveTo>
                  <a:lnTo>
                    <a:pt x="2812473" y="0"/>
                  </a:lnTo>
                  <a:lnTo>
                    <a:pt x="2812473" y="599216"/>
                  </a:lnTo>
                  <a:lnTo>
                    <a:pt x="2785085" y="584277"/>
                  </a:lnTo>
                  <a:cubicBezTo>
                    <a:pt x="2432207" y="409333"/>
                    <a:pt x="1944711" y="301128"/>
                    <a:pt x="1406237" y="301128"/>
                  </a:cubicBezTo>
                  <a:cubicBezTo>
                    <a:pt x="867763" y="301128"/>
                    <a:pt x="380267" y="409333"/>
                    <a:pt x="27389" y="584277"/>
                  </a:cubicBezTo>
                  <a:lnTo>
                    <a:pt x="0" y="5992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>
              <a:outerShdw blurRad="63500" dist="88900" dir="5400000" algn="t" rotWithShape="0">
                <a:prstClr val="black">
                  <a:alpha val="3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0" rtlCol="0" anchor="t" anchorCtr="0"/>
            <a:lstStyle/>
            <a:p>
              <a:pPr algn="ctr"/>
              <a:endParaRPr lang="en-US" dirty="0"/>
            </a:p>
          </p:txBody>
        </p:sp>
        <p:sp>
          <p:nvSpPr>
            <p:cNvPr id="8" name="Rectangle 86">
              <a:extLst>
                <a:ext uri="{FF2B5EF4-FFF2-40B4-BE49-F238E27FC236}">
                  <a16:creationId xmlns:a16="http://schemas.microsoft.com/office/drawing/2014/main" id="{E5162165-93DD-166B-7758-2320EB1F6AEF}"/>
                </a:ext>
              </a:extLst>
            </p:cNvPr>
            <p:cNvSpPr/>
            <p:nvPr/>
          </p:nvSpPr>
          <p:spPr>
            <a:xfrm>
              <a:off x="5211890" y="1700809"/>
              <a:ext cx="2021028" cy="1760438"/>
            </a:xfrm>
            <a:prstGeom prst="rect">
              <a:avLst/>
            </a:prstGeom>
            <a:solidFill>
              <a:srgbClr val="FFD9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360000" rIns="180000" bIns="180000" rtlCol="0" anchor="t" anchorCtr="0"/>
            <a:lstStyle/>
            <a:p>
              <a:pPr>
                <a:lnSpc>
                  <a:spcPct val="120000"/>
                </a:lnSpc>
                <a:spcBef>
                  <a:spcPts val="500"/>
                </a:spcBef>
              </a:pPr>
              <a:endParaRPr lang="en-US" sz="1400" dirty="0">
                <a:solidFill>
                  <a:schemeClr val="dk1"/>
                </a:solidFill>
                <a:latin typeface="+mj-lt"/>
              </a:endParaRPr>
            </a:p>
          </p:txBody>
        </p:sp>
        <p:sp>
          <p:nvSpPr>
            <p:cNvPr id="9" name="Rectangle 87">
              <a:extLst>
                <a:ext uri="{FF2B5EF4-FFF2-40B4-BE49-F238E27FC236}">
                  <a16:creationId xmlns:a16="http://schemas.microsoft.com/office/drawing/2014/main" id="{6A0BBC7D-20EA-4038-AD95-8BAABD09F72C}"/>
                </a:ext>
              </a:extLst>
            </p:cNvPr>
            <p:cNvSpPr/>
            <p:nvPr/>
          </p:nvSpPr>
          <p:spPr>
            <a:xfrm>
              <a:off x="5211890" y="1700808"/>
              <a:ext cx="2021028" cy="343285"/>
            </a:xfrm>
            <a:prstGeom prst="rect">
              <a:avLst/>
            </a:prstGeom>
            <a:solidFill>
              <a:schemeClr val="tx1">
                <a:alpha val="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0" rtlCol="0" anchor="t" anchorCtr="0"/>
            <a:lstStyle/>
            <a:p>
              <a:pPr algn="ctr"/>
              <a:endParaRPr lang="en-US" dirty="0"/>
            </a:p>
          </p:txBody>
        </p:sp>
        <p:sp>
          <p:nvSpPr>
            <p:cNvPr id="10" name="Textfeld 51">
              <a:extLst>
                <a:ext uri="{FF2B5EF4-FFF2-40B4-BE49-F238E27FC236}">
                  <a16:creationId xmlns:a16="http://schemas.microsoft.com/office/drawing/2014/main" id="{733B58DA-5472-59EB-3825-3B7AD0962806}"/>
                </a:ext>
              </a:extLst>
            </p:cNvPr>
            <p:cNvSpPr txBox="1"/>
            <p:nvPr/>
          </p:nvSpPr>
          <p:spPr>
            <a:xfrm>
              <a:off x="5211890" y="1700808"/>
              <a:ext cx="2021028" cy="343285"/>
            </a:xfrm>
            <a:prstGeom prst="rect">
              <a:avLst/>
            </a:prstGeom>
            <a:noFill/>
          </p:spPr>
          <p:txBody>
            <a:bodyPr vert="horz" wrap="square" lIns="180000" tIns="0" rIns="180000" bIns="0" rtlCol="0" anchor="ctr">
              <a:norm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00" dirty="0">
                  <a:solidFill>
                    <a:schemeClr val="dk1"/>
                  </a:solidFill>
                  <a:latin typeface="+mj-lt"/>
                </a:rPr>
                <a:t>To be updated</a:t>
              </a:r>
              <a:endParaRPr lang="en-US" sz="1600" b="0" i="0" u="none" baseline="0" dirty="0">
                <a:solidFill>
                  <a:srgbClr val="000000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" name="Textfeld 52">
              <a:extLst>
                <a:ext uri="{FF2B5EF4-FFF2-40B4-BE49-F238E27FC236}">
                  <a16:creationId xmlns:a16="http://schemas.microsoft.com/office/drawing/2014/main" id="{E84CB1EF-C29F-833B-12F7-1FF834A6F0FE}"/>
                </a:ext>
              </a:extLst>
            </p:cNvPr>
            <p:cNvSpPr txBox="1"/>
            <p:nvPr/>
          </p:nvSpPr>
          <p:spPr>
            <a:xfrm>
              <a:off x="5211890" y="2057247"/>
              <a:ext cx="2021028" cy="1404000"/>
            </a:xfrm>
            <a:prstGeom prst="rect">
              <a:avLst/>
            </a:prstGeom>
            <a:solidFill>
              <a:srgbClr val="FFD938"/>
            </a:solidFill>
          </p:spPr>
          <p:txBody>
            <a:bodyPr vert="horz" wrap="square" lIns="180000" tIns="108000" rIns="180000" bIns="180000" rtlCol="0" anchor="t">
              <a:normAutofit/>
            </a:bodyPr>
            <a:lstStyle/>
            <a:p>
              <a:r>
                <a:rPr lang="en-US" sz="1400" dirty="0">
                  <a:solidFill>
                    <a:schemeClr val="dk1"/>
                  </a:solidFill>
                </a:rPr>
                <a:t>Add links to other useful training content once complete</a:t>
              </a:r>
              <a:endParaRPr lang="en-US" sz="1600" b="0" i="0" u="none" baseline="0" dirty="0">
                <a:solidFill>
                  <a:srgbClr val="000000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80427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54BA7C3-9EAF-8530-28D1-46DC5384ED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chemeClr val="tx1"/>
                </a:solidFill>
              </a:rPr>
              <a:t>This slide is to test the design check too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6A54DD-9492-33CA-A280-A699A72CE3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2060"/>
                </a:solidFill>
              </a:rPr>
              <a:t>This is a subhead with the wrong color blue – run the design check tool and correct the formats</a:t>
            </a:r>
          </a:p>
        </p:txBody>
      </p:sp>
      <p:grpSp>
        <p:nvGrpSpPr>
          <p:cNvPr id="11" name="Key Message Arrow">
            <a:extLst>
              <a:ext uri="{FF2B5EF4-FFF2-40B4-BE49-F238E27FC236}">
                <a16:creationId xmlns:a16="http://schemas.microsoft.com/office/drawing/2014/main" id="{5CF2CE6A-4015-515D-93F1-739ED1596ADC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>
          <a:xfrm>
            <a:off x="550863" y="1700213"/>
            <a:ext cx="6793680" cy="720000"/>
            <a:chOff x="552000" y="5300806"/>
            <a:chExt cx="6793680" cy="720000"/>
          </a:xfrm>
        </p:grpSpPr>
        <p:sp>
          <p:nvSpPr>
            <p:cNvPr id="12" name="MIO_OBJECT1">
              <a:extLst>
                <a:ext uri="{FF2B5EF4-FFF2-40B4-BE49-F238E27FC236}">
                  <a16:creationId xmlns:a16="http://schemas.microsoft.com/office/drawing/2014/main" id="{2A1D2FD6-E5F1-D51F-A237-7EBE37AECCE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2000" y="5300806"/>
              <a:ext cx="708095" cy="72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r>
                <a:rPr lang="en-US" sz="240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  <a:sym typeface="Wingdings" panose="05000000000000000000" pitchFamily="2" charset="2"/>
                </a:rPr>
                <a:t></a:t>
              </a:r>
              <a:endParaRPr lang="en-US" sz="24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3" name="MIO_OBJECT3">
              <a:extLst>
                <a:ext uri="{FF2B5EF4-FFF2-40B4-BE49-F238E27FC236}">
                  <a16:creationId xmlns:a16="http://schemas.microsoft.com/office/drawing/2014/main" id="{4516ACC3-FA87-018D-0D27-0CD243BB7755}"/>
                </a:ext>
              </a:extLst>
            </p:cNvPr>
            <p:cNvSpPr/>
            <p:nvPr/>
          </p:nvSpPr>
          <p:spPr>
            <a:xfrm>
              <a:off x="1366309" y="5300806"/>
              <a:ext cx="5979371" cy="720000"/>
            </a:xfrm>
            <a:prstGeom prst="rect">
              <a:avLst/>
            </a:prstGeom>
            <a:solidFill>
              <a:schemeClr val="bg2">
                <a:alpha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72000" rIns="72000" bIns="72000" rtlCol="0" anchor="ctr"/>
            <a:lstStyle/>
            <a:p>
              <a:r>
                <a:rPr lang="en-US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laceholder issues</a:t>
              </a:r>
              <a:endParaRPr lang="en-US" dirty="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14" name="Key Message Arrow">
            <a:extLst>
              <a:ext uri="{FF2B5EF4-FFF2-40B4-BE49-F238E27FC236}">
                <a16:creationId xmlns:a16="http://schemas.microsoft.com/office/drawing/2014/main" id="{1B30FC5F-8BFB-5FCA-CE93-414707916E69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552000" y="2900808"/>
            <a:ext cx="6793680" cy="720000"/>
            <a:chOff x="552000" y="5300806"/>
            <a:chExt cx="6793680" cy="720000"/>
          </a:xfrm>
        </p:grpSpPr>
        <p:sp>
          <p:nvSpPr>
            <p:cNvPr id="15" name="MIO_OBJECT1">
              <a:extLst>
                <a:ext uri="{FF2B5EF4-FFF2-40B4-BE49-F238E27FC236}">
                  <a16:creationId xmlns:a16="http://schemas.microsoft.com/office/drawing/2014/main" id="{1A99E147-1D34-D0E7-8C18-059E3C9012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2000" y="5300806"/>
              <a:ext cx="708095" cy="720000"/>
            </a:xfrm>
            <a:prstGeom prst="rect">
              <a:avLst/>
            </a:prstGeom>
            <a:solidFill>
              <a:srgbClr val="0099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r>
                <a:rPr lang="en-US" sz="2400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  <a:sym typeface="Wingdings" panose="05000000000000000000" pitchFamily="2" charset="2"/>
                </a:rPr>
                <a:t></a:t>
              </a:r>
            </a:p>
          </p:txBody>
        </p:sp>
        <p:sp>
          <p:nvSpPr>
            <p:cNvPr id="16" name="MIO_OBJECT3">
              <a:extLst>
                <a:ext uri="{FF2B5EF4-FFF2-40B4-BE49-F238E27FC236}">
                  <a16:creationId xmlns:a16="http://schemas.microsoft.com/office/drawing/2014/main" id="{A2EB2E63-89E6-649D-84EE-504E99CE4EDD}"/>
                </a:ext>
              </a:extLst>
            </p:cNvPr>
            <p:cNvSpPr/>
            <p:nvPr/>
          </p:nvSpPr>
          <p:spPr>
            <a:xfrm>
              <a:off x="1366309" y="5300806"/>
              <a:ext cx="5979371" cy="720000"/>
            </a:xfrm>
            <a:prstGeom prst="rect">
              <a:avLst/>
            </a:prstGeom>
            <a:solidFill>
              <a:schemeClr val="bg2">
                <a:alpha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72000" rIns="72000" bIns="72000" rtlCol="0" anchor="ctr"/>
            <a:lstStyle/>
            <a:p>
              <a:r>
                <a:rPr lang="en-US" dirty="0">
                  <a:solidFill>
                    <a:srgbClr val="7030A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rong color</a:t>
              </a:r>
            </a:p>
          </p:txBody>
        </p:sp>
      </p:grpSp>
      <p:grpSp>
        <p:nvGrpSpPr>
          <p:cNvPr id="17" name="Key Message Arrow">
            <a:extLst>
              <a:ext uri="{FF2B5EF4-FFF2-40B4-BE49-F238E27FC236}">
                <a16:creationId xmlns:a16="http://schemas.microsoft.com/office/drawing/2014/main" id="{AA9C76B0-7D3C-82ED-CBD0-7C071ABE3189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>
          <a:xfrm>
            <a:off x="552000" y="4100808"/>
            <a:ext cx="6793680" cy="720000"/>
            <a:chOff x="552000" y="5300806"/>
            <a:chExt cx="6793680" cy="720000"/>
          </a:xfrm>
        </p:grpSpPr>
        <p:sp>
          <p:nvSpPr>
            <p:cNvPr id="18" name="MIO_OBJECT1">
              <a:extLst>
                <a:ext uri="{FF2B5EF4-FFF2-40B4-BE49-F238E27FC236}">
                  <a16:creationId xmlns:a16="http://schemas.microsoft.com/office/drawing/2014/main" id="{B949E454-ED68-DBFD-E9DB-84DB98E2E4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2000" y="5300806"/>
              <a:ext cx="708095" cy="720000"/>
            </a:xfrm>
            <a:prstGeom prst="rect">
              <a:avLst/>
            </a:prstGeom>
            <a:solidFill>
              <a:srgbClr val="0066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r>
                <a:rPr lang="en-US" sz="2400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  <a:sym typeface="Wingdings" panose="05000000000000000000" pitchFamily="2" charset="2"/>
                </a:rPr>
                <a:t></a:t>
              </a:r>
            </a:p>
          </p:txBody>
        </p:sp>
        <p:sp>
          <p:nvSpPr>
            <p:cNvPr id="19" name="MIO_OBJECT3">
              <a:extLst>
                <a:ext uri="{FF2B5EF4-FFF2-40B4-BE49-F238E27FC236}">
                  <a16:creationId xmlns:a16="http://schemas.microsoft.com/office/drawing/2014/main" id="{024CA9FA-8102-8EBB-3C88-7DF6EACCECA2}"/>
                </a:ext>
              </a:extLst>
            </p:cNvPr>
            <p:cNvSpPr/>
            <p:nvPr/>
          </p:nvSpPr>
          <p:spPr>
            <a:xfrm>
              <a:off x="1366309" y="5300806"/>
              <a:ext cx="5979371" cy="720000"/>
            </a:xfrm>
            <a:prstGeom prst="rect">
              <a:avLst/>
            </a:prstGeom>
            <a:solidFill>
              <a:schemeClr val="bg2">
                <a:alpha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72000" rIns="72000" bIns="72000" rtlCol="0" anchor="ctr"/>
            <a:lstStyle/>
            <a:p>
              <a:r>
                <a:rPr lang="en-US" dirty="0">
                  <a:solidFill>
                    <a:schemeClr val="tx1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Wrong fonts</a:t>
              </a:r>
              <a:endParaRPr lang="en-US" dirty="0">
                <a:solidFill>
                  <a:schemeClr val="accent5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</p:grpSp>
      <p:grpSp>
        <p:nvGrpSpPr>
          <p:cNvPr id="20" name="Key Message Arrow">
            <a:extLst>
              <a:ext uri="{FF2B5EF4-FFF2-40B4-BE49-F238E27FC236}">
                <a16:creationId xmlns:a16="http://schemas.microsoft.com/office/drawing/2014/main" id="{56044284-2905-DB55-B902-FE62D0D3AE81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>
          <a:xfrm>
            <a:off x="552000" y="5300809"/>
            <a:ext cx="6793680" cy="720000"/>
            <a:chOff x="552000" y="5300806"/>
            <a:chExt cx="6793680" cy="720000"/>
          </a:xfrm>
        </p:grpSpPr>
        <p:sp>
          <p:nvSpPr>
            <p:cNvPr id="21" name="MIO_OBJECT1">
              <a:extLst>
                <a:ext uri="{FF2B5EF4-FFF2-40B4-BE49-F238E27FC236}">
                  <a16:creationId xmlns:a16="http://schemas.microsoft.com/office/drawing/2014/main" id="{B225AC3F-CAD7-9BB7-5218-F47DF314A1C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2000" y="5300806"/>
              <a:ext cx="708095" cy="720000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r>
                <a:rPr lang="en-US" sz="2400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  <a:sym typeface="Wingdings" panose="05000000000000000000" pitchFamily="2" charset="2"/>
                </a:rPr>
                <a:t></a:t>
              </a:r>
            </a:p>
          </p:txBody>
        </p:sp>
        <p:sp>
          <p:nvSpPr>
            <p:cNvPr id="22" name="MIO_OBJECT3">
              <a:extLst>
                <a:ext uri="{FF2B5EF4-FFF2-40B4-BE49-F238E27FC236}">
                  <a16:creationId xmlns:a16="http://schemas.microsoft.com/office/drawing/2014/main" id="{6463391A-89E1-1BEE-BA16-C59F4423FA33}"/>
                </a:ext>
              </a:extLst>
            </p:cNvPr>
            <p:cNvSpPr/>
            <p:nvPr/>
          </p:nvSpPr>
          <p:spPr>
            <a:xfrm>
              <a:off x="1366309" y="5300806"/>
              <a:ext cx="5979371" cy="720000"/>
            </a:xfrm>
            <a:prstGeom prst="rect">
              <a:avLst/>
            </a:prstGeom>
            <a:solidFill>
              <a:schemeClr val="bg2">
                <a:alpha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72000" rIns="72000" bIns="72000" rtlCol="0" anchor="ctr"/>
            <a:lstStyle/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rong bullets</a:t>
              </a:r>
              <a:endParaRPr lang="en-US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3E29CDB5-455F-B941-1848-AAD547BFB832}"/>
              </a:ext>
            </a:extLst>
          </p:cNvPr>
          <p:cNvPicPr>
            <a:picLocks/>
          </p:cNvPicPr>
          <p:nvPr/>
        </p:nvPicPr>
        <p:blipFill>
          <a:blip r:embed="rId8"/>
          <a:srcRect b="20000"/>
          <a:stretch/>
        </p:blipFill>
        <p:spPr>
          <a:xfrm>
            <a:off x="7755600" y="1700212"/>
            <a:ext cx="3884400" cy="4320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4746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51475-81B5-6C34-4673-8F19BDAD93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is is a slide to test out ‘Apply formats’</a:t>
            </a:r>
          </a:p>
        </p:txBody>
      </p:sp>
      <p:sp>
        <p:nvSpPr>
          <p:cNvPr id="11" name="_Footnotes - full width">
            <a:extLst>
              <a:ext uri="{FF2B5EF4-FFF2-40B4-BE49-F238E27FC236}">
                <a16:creationId xmlns:a16="http://schemas.microsoft.com/office/drawing/2014/main" id="{42F2B12F-D060-90F1-885F-A0D578260519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51999" y="4582033"/>
            <a:ext cx="11640001" cy="387798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300"/>
              </a:spcAft>
              <a:buFontTx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000" indent="-252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4000" indent="-252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400" dirty="0">
                <a:latin typeface="Century Gothic" panose="020B0502020202020204" pitchFamily="34" charset="0"/>
                <a:cs typeface="Arial" panose="020B0604020202020204" pitchFamily="34" charset="0"/>
              </a:rPr>
              <a:t>NOTE: this footnote text comes from excel and it is in the wrong position and the wrong format – apply the correct format and position from the text elements. 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BC716B94-DAD7-E9D4-6841-6C53E4FF13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9130998"/>
              </p:ext>
            </p:extLst>
          </p:nvPr>
        </p:nvGraphicFramePr>
        <p:xfrm>
          <a:off x="552000" y="2371598"/>
          <a:ext cx="5041900" cy="21148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03300">
                  <a:extLst>
                    <a:ext uri="{9D8B030D-6E8A-4147-A177-3AD203B41FA5}">
                      <a16:colId xmlns:a16="http://schemas.microsoft.com/office/drawing/2014/main" val="3887156036"/>
                    </a:ext>
                  </a:extLst>
                </a:gridCol>
                <a:gridCol w="1003300">
                  <a:extLst>
                    <a:ext uri="{9D8B030D-6E8A-4147-A177-3AD203B41FA5}">
                      <a16:colId xmlns:a16="http://schemas.microsoft.com/office/drawing/2014/main" val="3224189575"/>
                    </a:ext>
                  </a:extLst>
                </a:gridCol>
                <a:gridCol w="876300">
                  <a:extLst>
                    <a:ext uri="{9D8B030D-6E8A-4147-A177-3AD203B41FA5}">
                      <a16:colId xmlns:a16="http://schemas.microsoft.com/office/drawing/2014/main" val="1404529208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3250022893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4087269073"/>
                    </a:ext>
                  </a:extLst>
                </a:gridCol>
              </a:tblGrid>
              <a:tr h="259080"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800" u="none" strike="noStrike">
                          <a:effectLst/>
                        </a:rPr>
                        <a:t>Costs</a:t>
                      </a:r>
                      <a:endParaRPr lang="en-GB" sz="800" b="0" i="0" u="none" strike="noStrike">
                        <a:solidFill>
                          <a:srgbClr val="AA000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800" u="none" strike="noStrike" dirty="0">
                          <a:effectLst/>
                        </a:rPr>
                        <a:t> PLANNED EXPENSES </a:t>
                      </a:r>
                      <a:endParaRPr lang="en-GB" sz="800" b="0" i="0" u="none" strike="noStrike" dirty="0">
                        <a:solidFill>
                          <a:srgbClr val="AA000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800" u="none" strike="noStrike">
                          <a:effectLst/>
                        </a:rPr>
                        <a:t> ACTUAL EXPENSES </a:t>
                      </a:r>
                      <a:endParaRPr lang="en-GB" sz="800" b="0" i="0" u="none" strike="noStrike">
                        <a:solidFill>
                          <a:srgbClr val="AA000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800" u="none" strike="noStrike">
                          <a:effectLst/>
                        </a:rPr>
                        <a:t> VARIANCE </a:t>
                      </a:r>
                      <a:endParaRPr lang="en-GB" sz="800" b="0" i="0" u="none" strike="noStrike">
                        <a:solidFill>
                          <a:srgbClr val="AA000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800" u="none" strike="noStrike">
                          <a:effectLst/>
                        </a:rPr>
                        <a:t> VARIANCE % </a:t>
                      </a:r>
                      <a:endParaRPr lang="en-GB" sz="800" b="0" i="0" u="none" strike="noStrike">
                        <a:solidFill>
                          <a:srgbClr val="AA000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21338995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800" u="none" strike="noStrike">
                          <a:effectLst/>
                        </a:rPr>
                        <a:t>Employee Costs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>
                          <a:effectLst/>
                        </a:rPr>
                        <a:t>15,000.00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>
                          <a:effectLst/>
                        </a:rPr>
                        <a:t>70,000.00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>
                          <a:effectLst/>
                        </a:rPr>
                        <a:t>55,000.00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800" u="none" strike="noStrike">
                          <a:effectLst/>
                        </a:rPr>
                        <a:t>366.67%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63772923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800" u="none" strike="noStrike">
                          <a:effectLst/>
                        </a:rPr>
                        <a:t>Office Costs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>
                          <a:effectLst/>
                        </a:rPr>
                        <a:t>100,000.00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>
                          <a:effectLst/>
                        </a:rPr>
                        <a:t>70,000.00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>
                          <a:effectLst/>
                        </a:rPr>
                        <a:t>-30,000.00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800" u="none" strike="noStrike">
                          <a:effectLst/>
                        </a:rPr>
                        <a:t>-30.00%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97340725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800" u="none" strike="noStrike">
                          <a:effectLst/>
                        </a:rPr>
                        <a:t>Marketing Costs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>
                          <a:effectLst/>
                        </a:rPr>
                        <a:t>30,000.00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>
                          <a:effectLst/>
                        </a:rPr>
                        <a:t>50,000.00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>
                          <a:effectLst/>
                        </a:rPr>
                        <a:t>20,000.00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800" u="none" strike="noStrike">
                          <a:effectLst/>
                        </a:rPr>
                        <a:t>66.67%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15144928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800" u="none" strike="noStrike">
                          <a:effectLst/>
                        </a:rPr>
                        <a:t>Training / Travel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>
                          <a:effectLst/>
                        </a:rPr>
                        <a:t>20,000.00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>
                          <a:effectLst/>
                        </a:rPr>
                        <a:t>25,000.00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>
                          <a:effectLst/>
                        </a:rPr>
                        <a:t>5,000.00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800" u="none" strike="noStrike">
                          <a:effectLst/>
                        </a:rPr>
                        <a:t>25.00%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51138229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l" fontAlgn="t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>
                          <a:effectLst/>
                        </a:rPr>
                        <a:t>165,000.00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>
                          <a:effectLst/>
                        </a:rPr>
                        <a:t>215,000.00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>
                          <a:effectLst/>
                        </a:rPr>
                        <a:t>50,000.00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800" u="none" strike="noStrike" dirty="0">
                          <a:effectLst/>
                        </a:rPr>
                        <a:t>30.30%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4729578"/>
                  </a:ext>
                </a:extLst>
              </a:tr>
            </a:tbl>
          </a:graphicData>
        </a:graphic>
      </p:graphicFrame>
      <p:sp>
        <p:nvSpPr>
          <p:cNvPr id="13" name="_Subheading">
            <a:extLst>
              <a:ext uri="{FF2B5EF4-FFF2-40B4-BE49-F238E27FC236}">
                <a16:creationId xmlns:a16="http://schemas.microsoft.com/office/drawing/2014/main" id="{A08B77C2-5995-8EF6-7F52-33603F87890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2000" y="956760"/>
            <a:ext cx="11088001" cy="31200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600"/>
              </a:spcAft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600"/>
              </a:spcAft>
              <a:buFontTx/>
              <a:buNone/>
              <a:defRPr lang="en-US" sz="2000" b="1" kern="1200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600"/>
              </a:spcAft>
              <a:buFontTx/>
              <a:buNone/>
              <a:defRPr lang="en-US" sz="2000" b="1" kern="1200" baseline="0" noProof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6pPr>
            <a:lvl7pPr marL="250825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60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dirty="0">
                <a:solidFill>
                  <a:schemeClr val="accent2"/>
                </a:solidFill>
                <a:ea typeface="+mj-ea"/>
                <a:cs typeface="+mj-cs"/>
              </a:rPr>
              <a:t>R</a:t>
            </a:r>
            <a:r>
              <a:rPr lang="pl-PL" sz="2000" dirty="0">
                <a:solidFill>
                  <a:schemeClr val="accent2"/>
                </a:solidFill>
                <a:ea typeface="+mj-ea"/>
                <a:cs typeface="+mj-cs"/>
              </a:rPr>
              <a:t>estyle to </a:t>
            </a:r>
            <a:r>
              <a:rPr lang="en-GB" sz="2000" dirty="0">
                <a:solidFill>
                  <a:schemeClr val="accent2"/>
                </a:solidFill>
                <a:ea typeface="+mj-ea"/>
                <a:cs typeface="+mj-cs"/>
              </a:rPr>
              <a:t>the correct </a:t>
            </a:r>
            <a:r>
              <a:rPr lang="pl-PL" sz="2000" dirty="0">
                <a:solidFill>
                  <a:schemeClr val="accent2"/>
                </a:solidFill>
                <a:ea typeface="+mj-ea"/>
                <a:cs typeface="+mj-cs"/>
              </a:rPr>
              <a:t>brand </a:t>
            </a:r>
            <a:r>
              <a:rPr lang="en-GB" sz="2000" dirty="0">
                <a:solidFill>
                  <a:schemeClr val="accent2"/>
                </a:solidFill>
                <a:ea typeface="+mj-ea"/>
                <a:cs typeface="+mj-cs"/>
              </a:rPr>
              <a:t>format</a:t>
            </a:r>
            <a:endParaRPr lang="en-US" sz="20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0D71071-C827-3A05-7154-4BBCAFD81B1E}"/>
              </a:ext>
            </a:extLst>
          </p:cNvPr>
          <p:cNvSpPr/>
          <p:nvPr/>
        </p:nvSpPr>
        <p:spPr>
          <a:xfrm>
            <a:off x="279699" y="1522670"/>
            <a:ext cx="9714156" cy="55939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400" dirty="0">
                <a:solidFill>
                  <a:schemeClr val="bg1"/>
                </a:solidFill>
              </a:rPr>
              <a:t>Heading box – wrong color, style, format, size and </a:t>
            </a:r>
            <a:r>
              <a:rPr lang="en-US" sz="1400" dirty="0" err="1">
                <a:solidFill>
                  <a:schemeClr val="bg1"/>
                </a:solidFill>
              </a:rPr>
              <a:t>postiion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24784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>
            <a:extLst>
              <a:ext uri="{FF2B5EF4-FFF2-40B4-BE49-F238E27FC236}">
                <a16:creationId xmlns:a16="http://schemas.microsoft.com/office/drawing/2014/main" id="{229390F1-01FE-DF8E-C7E9-C784E43060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838799"/>
            <a:ext cx="3454399" cy="2641600"/>
          </a:xfrm>
        </p:spPr>
        <p:txBody>
          <a:bodyPr/>
          <a:lstStyle/>
          <a:p>
            <a:r>
              <a:rPr lang="en-US"/>
              <a:t>Q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80BF6E2-3C08-A7F9-9CEC-A05CFFCB40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760" y="838200"/>
            <a:ext cx="5759450" cy="2641600"/>
          </a:xfrm>
        </p:spPr>
        <p:txBody>
          <a:bodyPr rIns="248400" anchor="t"/>
          <a:lstStyle/>
          <a:p>
            <a:r>
              <a:rPr lang="en-US" noProof="0" dirty="0"/>
              <a:t>How can I ensure users</a:t>
            </a:r>
            <a:br>
              <a:rPr lang="en-US" noProof="0" dirty="0"/>
            </a:br>
            <a:r>
              <a:rPr lang="en-US" noProof="0" dirty="0"/>
              <a:t>stay on brand and use the correct templates, fonts and colors?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55328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4FD985-0DEA-2E87-E049-FED17B0009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Device-Mockups_Laptop" descr="A white computer with a blank screen&#10;&#10;Description automatically generated">
            <a:hlinkClick r:id="rId8" tooltip="Brand Challenges - Stay on Brand"/>
            <a:extLst>
              <a:ext uri="{FF2B5EF4-FFF2-40B4-BE49-F238E27FC236}">
                <a16:creationId xmlns:a16="http://schemas.microsoft.com/office/drawing/2014/main" id="{4F30E2CA-7DAB-F293-7000-593759BE798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6950" y="367539"/>
            <a:ext cx="6122922" cy="6122922"/>
          </a:xfrm>
          <a:prstGeom prst="rect">
            <a:avLst/>
          </a:prstGeom>
          <a:solidFill>
            <a:srgbClr val="EDFCFF"/>
          </a:solidFill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800C7FEC-6055-22A6-8D87-DBFC64D2CC41}"/>
              </a:ext>
            </a:extLst>
          </p:cNvPr>
          <p:cNvGrpSpPr/>
          <p:nvPr/>
        </p:nvGrpSpPr>
        <p:grpSpPr>
          <a:xfrm>
            <a:off x="8094411" y="2655000"/>
            <a:ext cx="1548000" cy="1548000"/>
            <a:chOff x="5119869" y="3084102"/>
            <a:chExt cx="1635888" cy="1635888"/>
          </a:xfrm>
          <a:noFill/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9900C6AA-ECEF-AADB-0757-33525B740343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5119869" y="3084102"/>
              <a:ext cx="1635888" cy="1635888"/>
            </a:xfrm>
            <a:prstGeom prst="ellipse">
              <a:avLst/>
            </a:prstGeom>
            <a:grpFill/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" rIns="90000" bIns="46800" rtlCol="0" anchor="ctr"/>
            <a:lstStyle/>
            <a:p>
              <a:pPr algn="ctr" defTabSz="486000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</a:pPr>
              <a:endParaRPr lang="en-US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6" name="Isosceles Triangle 5">
              <a:hlinkClick r:id="rId8" tooltip="Brand Challenges - Stay on Brand"/>
              <a:extLst>
                <a:ext uri="{FF2B5EF4-FFF2-40B4-BE49-F238E27FC236}">
                  <a16:creationId xmlns:a16="http://schemas.microsoft.com/office/drawing/2014/main" id="{F1BDA0E9-2238-1777-4164-601406C97433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5400000">
              <a:off x="5655952" y="3558663"/>
              <a:ext cx="827882" cy="686766"/>
            </a:xfrm>
            <a:prstGeom prst="triangle">
              <a:avLst/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" rIns="90000" bIns="46800" rtlCol="0" anchor="ctr"/>
            <a:lstStyle/>
            <a:p>
              <a:pPr algn="ctr" defTabSz="486000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</a:pPr>
              <a:endParaRPr lang="en-US" sz="14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3A3FF6F-A789-0F44-1407-2E7B54364AF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0799" y="1659285"/>
            <a:ext cx="5040000" cy="353943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b="1" kern="1200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b="1" kern="1200" baseline="0" noProof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6pPr>
            <a:lvl7pPr marL="250825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5400" b="1" dirty="0">
                <a:solidFill>
                  <a:schemeClr val="accent4"/>
                </a:solidFill>
                <a:latin typeface="Segoe UI Semibold" panose="020B0702040204020203" pitchFamily="34" charset="0"/>
              </a:rPr>
              <a:t>Ctrl click</a:t>
            </a:r>
            <a:br>
              <a:rPr lang="en-US" sz="5400" b="1" dirty="0">
                <a:solidFill>
                  <a:schemeClr val="accent2"/>
                </a:solidFill>
                <a:latin typeface="Segoe UI Semibold" panose="020B0702040204020203" pitchFamily="34" charset="0"/>
              </a:rPr>
            </a:br>
            <a:r>
              <a:rPr lang="en-US" sz="5400" dirty="0">
                <a:solidFill>
                  <a:schemeClr val="tx2"/>
                </a:solidFill>
                <a:latin typeface="Segoe UI Semibold" panose="020B0702040204020203" pitchFamily="34" charset="0"/>
              </a:rPr>
              <a:t>to watch our</a:t>
            </a:r>
            <a:br>
              <a:rPr lang="en-US" sz="5400" dirty="0">
                <a:solidFill>
                  <a:schemeClr val="tx2"/>
                </a:solidFill>
                <a:latin typeface="Segoe UI Semibold" panose="020B0702040204020203" pitchFamily="34" charset="0"/>
              </a:rPr>
            </a:br>
            <a:r>
              <a:rPr lang="en-US" sz="5400" dirty="0">
                <a:solidFill>
                  <a:schemeClr val="tx2"/>
                </a:solidFill>
                <a:latin typeface="Segoe UI Semibold" panose="020B0702040204020203" pitchFamily="34" charset="0"/>
              </a:rPr>
              <a:t>‘how to’ video on </a:t>
            </a:r>
            <a:r>
              <a:rPr lang="en-US" sz="5400" dirty="0">
                <a:solidFill>
                  <a:schemeClr val="accent2"/>
                </a:solidFill>
                <a:latin typeface="Segoe UI Semibold" panose="020B0702040204020203" pitchFamily="34" charset="0"/>
              </a:rPr>
              <a:t>empower® branding tool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24956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:a14="http://schemas.microsoft.com/office/drawing/2010/main"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F9B8F7-E55E-C71C-7F5E-E74B7E0329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DC2AE-6784-2D0E-8787-4BC3CCDA56D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noProof="0" dirty="0"/>
              <a:t>Four tools to protect and promote your brand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40037113-BA76-333C-7798-50B078AD980D}"/>
              </a:ext>
            </a:extLst>
          </p:cNvPr>
          <p:cNvCxnSpPr>
            <a:cxnSpLocks/>
            <a:stCxn id="55" idx="2"/>
            <a:endCxn id="71" idx="0"/>
          </p:cNvCxnSpPr>
          <p:nvPr/>
        </p:nvCxnSpPr>
        <p:spPr>
          <a:xfrm rot="10800000" flipH="1">
            <a:off x="1547677" y="3858051"/>
            <a:ext cx="9096647" cy="12700"/>
          </a:xfrm>
          <a:prstGeom prst="bentConnector5">
            <a:avLst>
              <a:gd name="adj1" fmla="val -10938"/>
              <a:gd name="adj2" fmla="val -16843669"/>
              <a:gd name="adj3" fmla="val 111055"/>
            </a:avLst>
          </a:prstGeom>
          <a:ln w="127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Gap page spacers - Vertical">
            <a:extLst>
              <a:ext uri="{FF2B5EF4-FFF2-40B4-BE49-F238E27FC236}">
                <a16:creationId xmlns:a16="http://schemas.microsoft.com/office/drawing/2014/main" id="{12E33771-09AA-38C0-CD97-8BB13AD3BB2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006001" y="1700808"/>
            <a:ext cx="180000" cy="27661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0" i="0" u="none" dirty="0"/>
              <a:t> 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11E808B-A324-09A1-9A3B-BABDEA6B56A0}"/>
              </a:ext>
            </a:extLst>
          </p:cNvPr>
          <p:cNvGrpSpPr/>
          <p:nvPr/>
        </p:nvGrpSpPr>
        <p:grpSpPr>
          <a:xfrm>
            <a:off x="1420799" y="2133231"/>
            <a:ext cx="1685150" cy="3118057"/>
            <a:chOff x="803021" y="2133231"/>
            <a:chExt cx="1685150" cy="3118057"/>
          </a:xfrm>
        </p:grpSpPr>
        <p:sp>
          <p:nvSpPr>
            <p:cNvPr id="14" name="Body 1">
              <a:extLst>
                <a:ext uri="{FF2B5EF4-FFF2-40B4-BE49-F238E27FC236}">
                  <a16:creationId xmlns:a16="http://schemas.microsoft.com/office/drawing/2014/main" id="{EBA907CD-4451-77C0-B83B-8421EF88C3D3}"/>
                </a:ext>
              </a:extLst>
            </p:cNvPr>
            <p:cNvSpPr txBox="1">
              <a:spLocks/>
            </p:cNvSpPr>
            <p:nvPr>
              <p:custDataLst>
                <p:tags r:id="rId19"/>
              </p:custDataLst>
            </p:nvPr>
          </p:nvSpPr>
          <p:spPr>
            <a:xfrm>
              <a:off x="803021" y="4758845"/>
              <a:ext cx="1685150" cy="492443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x-none"/>
              </a:defPPr>
              <a:lvl1pPr algn="ctr">
                <a:spcBef>
                  <a:spcPts val="300"/>
                </a:spcBef>
                <a:spcAft>
                  <a:spcPts val="300"/>
                </a:spcAft>
                <a:defRPr sz="1200" b="1">
                  <a:solidFill>
                    <a:schemeClr val="accent2"/>
                  </a:solidFill>
                  <a:cs typeface="+mn-ea"/>
                </a:defRPr>
              </a:lvl1pPr>
            </a:lstStyle>
            <a:p>
              <a:r>
                <a:rPr lang="en-US" sz="1600" dirty="0">
                  <a:solidFill>
                    <a:schemeClr val="accent1"/>
                  </a:solidFill>
                  <a:sym typeface="+mn-lt"/>
                </a:rPr>
                <a:t>Master</a:t>
              </a:r>
              <a:br>
                <a:rPr lang="en-US" sz="1600" dirty="0">
                  <a:solidFill>
                    <a:schemeClr val="accent1"/>
                  </a:solidFill>
                  <a:sym typeface="+mn-lt"/>
                </a:rPr>
              </a:br>
              <a:r>
                <a:rPr lang="en-US" sz="1600" dirty="0">
                  <a:solidFill>
                    <a:schemeClr val="accent1"/>
                  </a:solidFill>
                  <a:sym typeface="+mn-lt"/>
                </a:rPr>
                <a:t>templates</a:t>
              </a: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B464D645-BDED-73DE-3D49-79B0DC9B4F7F}"/>
                </a:ext>
              </a:extLst>
            </p:cNvPr>
            <p:cNvGrpSpPr/>
            <p:nvPr/>
          </p:nvGrpSpPr>
          <p:grpSpPr>
            <a:xfrm>
              <a:off x="929900" y="2133231"/>
              <a:ext cx="1431392" cy="2440516"/>
              <a:chOff x="929900" y="2133231"/>
              <a:chExt cx="1431392" cy="2440516"/>
            </a:xfrm>
          </p:grpSpPr>
          <p:sp>
            <p:nvSpPr>
              <p:cNvPr id="28" name="Ellipse 2">
                <a:extLst>
                  <a:ext uri="{FF2B5EF4-FFF2-40B4-BE49-F238E27FC236}">
                    <a16:creationId xmlns:a16="http://schemas.microsoft.com/office/drawing/2014/main" id="{87043FF0-843C-EE00-EA7E-30D7A51B791C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>
              <a:xfrm>
                <a:off x="1332396" y="2133231"/>
                <a:ext cx="626400" cy="626400"/>
              </a:xfrm>
              <a:prstGeom prst="ellipse">
                <a:avLst/>
              </a:prstGeom>
              <a:solidFill>
                <a:srgbClr val="E5EAF0"/>
              </a:solidFill>
              <a:effectLst>
                <a:outerShdw blurRad="76200" sx="101000" sy="101000" algn="ctr" rotWithShape="0">
                  <a:schemeClr val="tx1">
                    <a:alpha val="10000"/>
                  </a:schemeClr>
                </a:outerShdw>
              </a:effectLst>
            </p:spPr>
            <p:txBody>
              <a:bodyPr vert="horz" lIns="72000" tIns="72000" rIns="72000" bIns="72000" rtlCol="0" anchor="ctr">
                <a:noAutofit/>
              </a:bodyPr>
              <a:lstStyle/>
              <a:p>
                <a:pPr algn="ctr">
                  <a:buClr>
                    <a:srgbClr val="123F6E"/>
                  </a:buClr>
                </a:pPr>
                <a:r>
                  <a: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+mj-ea"/>
                    <a:cs typeface="Segoe UI Semibold"/>
                  </a:rPr>
                  <a:t>1</a:t>
                </a:r>
              </a:p>
            </p:txBody>
          </p:sp>
          <p:sp>
            <p:nvSpPr>
              <p:cNvPr id="29" name="Ellipse 3">
                <a:extLst>
                  <a:ext uri="{FF2B5EF4-FFF2-40B4-BE49-F238E27FC236}">
                    <a16:creationId xmlns:a16="http://schemas.microsoft.com/office/drawing/2014/main" id="{07C94E3D-9874-A895-2215-C565D25B54BD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>
              <a:xfrm>
                <a:off x="1420596" y="2221430"/>
                <a:ext cx="450000" cy="450000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 rtl="0" eaLnBrk="1" fontAlgn="auto" hangingPunct="1"/>
                <a:r>
                  <a:rPr lang="en-US" sz="2000" b="0" i="0" u="none" baseline="0" dirty="0">
                    <a:solidFill>
                      <a:schemeClr val="accent1"/>
                    </a:solidFill>
                    <a:latin typeface="Segoe UI Semibold" panose="020B0702040204020203" pitchFamily="34" charset="0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31" name="Connector: Elbow 43">
                <a:extLst>
                  <a:ext uri="{FF2B5EF4-FFF2-40B4-BE49-F238E27FC236}">
                    <a16:creationId xmlns:a16="http://schemas.microsoft.com/office/drawing/2014/main" id="{3D6551F7-084A-701D-F8E8-1CDE373544CC}"/>
                  </a:ext>
                </a:extLst>
              </p:cNvPr>
              <p:cNvCxnSpPr>
                <a:cxnSpLocks/>
                <a:stCxn id="55" idx="1"/>
                <a:endCxn id="28" idx="4"/>
              </p:cNvCxnSpPr>
              <p:nvPr/>
            </p:nvCxnSpPr>
            <p:spPr>
              <a:xfrm flipV="1">
                <a:off x="1645596" y="2759631"/>
                <a:ext cx="0" cy="382724"/>
              </a:xfrm>
              <a:prstGeom prst="straightConnector1">
                <a:avLst/>
              </a:prstGeom>
              <a:ln w="12700">
                <a:solidFill>
                  <a:schemeClr val="tx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662F728C-CF54-A944-94BB-952D8F80FF3E}"/>
                  </a:ext>
                </a:extLst>
              </p:cNvPr>
              <p:cNvGrpSpPr/>
              <p:nvPr/>
            </p:nvGrpSpPr>
            <p:grpSpPr>
              <a:xfrm>
                <a:off x="929900" y="3142355"/>
                <a:ext cx="1431392" cy="1431392"/>
                <a:chOff x="929900" y="3139180"/>
                <a:chExt cx="1431392" cy="1431392"/>
              </a:xfrm>
            </p:grpSpPr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749AA918-3E22-7547-23A0-0972C9F7541D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2"/>
                  </p:custDataLst>
                </p:nvPr>
              </p:nvSpPr>
              <p:spPr>
                <a:xfrm rot="5400000">
                  <a:off x="929900" y="3139180"/>
                  <a:ext cx="1431392" cy="1431392"/>
                </a:xfrm>
                <a:prstGeom prst="rect">
                  <a:avLst/>
                </a:prstGeom>
                <a:solidFill>
                  <a:schemeClr val="accent1">
                    <a:alpha val="2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1" dirty="0">
                    <a:latin typeface="Lato Light" charset="0"/>
                  </a:endParaRPr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7DC3385D-6A7F-F883-08AB-D75B357B50F6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3"/>
                  </p:custDataLst>
                </p:nvPr>
              </p:nvSpPr>
              <p:spPr>
                <a:xfrm rot="5400000">
                  <a:off x="1035931" y="3245211"/>
                  <a:ext cx="1219330" cy="121933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1" dirty="0">
                    <a:latin typeface="Lato Light" charset="0"/>
                  </a:endParaRPr>
                </a:p>
              </p:txBody>
            </p:sp>
            <p:pic>
              <p:nvPicPr>
                <p:cNvPr id="58" name="Graphic 57">
                  <a:extLst>
                    <a:ext uri="{FF2B5EF4-FFF2-40B4-BE49-F238E27FC236}">
                      <a16:creationId xmlns:a16="http://schemas.microsoft.com/office/drawing/2014/main" id="{C39B5583-7978-16CB-844B-BB78F49DBA39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39596" y="3548876"/>
                  <a:ext cx="612000" cy="612000"/>
                </a:xfrm>
                <a:prstGeom prst="rect">
                  <a:avLst/>
                </a:prstGeom>
              </p:spPr>
            </p:pic>
          </p:grpSp>
        </p:grpSp>
      </p:grp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CE284B29-FE24-C5DD-2F78-26B8C12B669A}"/>
              </a:ext>
            </a:extLst>
          </p:cNvPr>
          <p:cNvCxnSpPr>
            <a:cxnSpLocks/>
            <a:stCxn id="55" idx="2"/>
            <a:endCxn id="71" idx="0"/>
          </p:cNvCxnSpPr>
          <p:nvPr/>
        </p:nvCxnSpPr>
        <p:spPr>
          <a:xfrm rot="10800000" flipH="1">
            <a:off x="1547677" y="3858051"/>
            <a:ext cx="9096647" cy="12700"/>
          </a:xfrm>
          <a:prstGeom prst="bentConnector5">
            <a:avLst>
              <a:gd name="adj1" fmla="val -10929"/>
              <a:gd name="adj2" fmla="val 17147031"/>
              <a:gd name="adj3" fmla="val 111046"/>
            </a:avLst>
          </a:prstGeom>
          <a:ln w="127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nector: Elbow 43">
            <a:extLst>
              <a:ext uri="{FF2B5EF4-FFF2-40B4-BE49-F238E27FC236}">
                <a16:creationId xmlns:a16="http://schemas.microsoft.com/office/drawing/2014/main" id="{0CD7DD1F-5E55-FAFA-265D-17EFB162E657}"/>
              </a:ext>
            </a:extLst>
          </p:cNvPr>
          <p:cNvCxnSpPr>
            <a:cxnSpLocks/>
            <a:stCxn id="55" idx="0"/>
            <a:endCxn id="48" idx="2"/>
          </p:cNvCxnSpPr>
          <p:nvPr/>
        </p:nvCxnSpPr>
        <p:spPr>
          <a:xfrm>
            <a:off x="2979070" y="3858051"/>
            <a:ext cx="1123693" cy="0"/>
          </a:xfrm>
          <a:prstGeom prst="straightConnector1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43">
            <a:extLst>
              <a:ext uri="{FF2B5EF4-FFF2-40B4-BE49-F238E27FC236}">
                <a16:creationId xmlns:a16="http://schemas.microsoft.com/office/drawing/2014/main" id="{6B7F108B-CF60-F0C5-4006-07E680C7D82B}"/>
              </a:ext>
            </a:extLst>
          </p:cNvPr>
          <p:cNvCxnSpPr>
            <a:cxnSpLocks/>
            <a:stCxn id="48" idx="0"/>
            <a:endCxn id="67" idx="2"/>
          </p:cNvCxnSpPr>
          <p:nvPr/>
        </p:nvCxnSpPr>
        <p:spPr>
          <a:xfrm>
            <a:off x="5534155" y="3858051"/>
            <a:ext cx="1123693" cy="0"/>
          </a:xfrm>
          <a:prstGeom prst="straightConnector1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or: Elbow 43">
            <a:extLst>
              <a:ext uri="{FF2B5EF4-FFF2-40B4-BE49-F238E27FC236}">
                <a16:creationId xmlns:a16="http://schemas.microsoft.com/office/drawing/2014/main" id="{C3C8932E-1FFD-6DFC-1419-327BBD05CC40}"/>
              </a:ext>
            </a:extLst>
          </p:cNvPr>
          <p:cNvCxnSpPr>
            <a:cxnSpLocks/>
            <a:stCxn id="67" idx="0"/>
            <a:endCxn id="71" idx="2"/>
          </p:cNvCxnSpPr>
          <p:nvPr/>
        </p:nvCxnSpPr>
        <p:spPr>
          <a:xfrm>
            <a:off x="8089240" y="3858051"/>
            <a:ext cx="1123693" cy="0"/>
          </a:xfrm>
          <a:prstGeom prst="straightConnector1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81CA6FE-4DE7-C309-F57F-ED5B960747B4}"/>
              </a:ext>
            </a:extLst>
          </p:cNvPr>
          <p:cNvGrpSpPr/>
          <p:nvPr/>
        </p:nvGrpSpPr>
        <p:grpSpPr>
          <a:xfrm>
            <a:off x="3975885" y="2133231"/>
            <a:ext cx="1685148" cy="3118057"/>
            <a:chOff x="3769960" y="2133231"/>
            <a:chExt cx="1685148" cy="3118057"/>
          </a:xfrm>
        </p:grpSpPr>
        <p:cxnSp>
          <p:nvCxnSpPr>
            <p:cNvPr id="10" name="Connector: Elbow 43">
              <a:extLst>
                <a:ext uri="{FF2B5EF4-FFF2-40B4-BE49-F238E27FC236}">
                  <a16:creationId xmlns:a16="http://schemas.microsoft.com/office/drawing/2014/main" id="{65A87BCC-B63D-9970-866A-DC03F10FF35C}"/>
                </a:ext>
              </a:extLst>
            </p:cNvPr>
            <p:cNvCxnSpPr>
              <a:cxnSpLocks/>
              <a:stCxn id="48" idx="1"/>
              <a:endCxn id="79" idx="4"/>
            </p:cNvCxnSpPr>
            <p:nvPr/>
          </p:nvCxnSpPr>
          <p:spPr>
            <a:xfrm flipV="1">
              <a:off x="4612534" y="2759631"/>
              <a:ext cx="0" cy="382724"/>
            </a:xfrm>
            <a:prstGeom prst="straightConnector1">
              <a:avLst/>
            </a:prstGeom>
            <a:ln w="1270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Body 2">
              <a:extLst>
                <a:ext uri="{FF2B5EF4-FFF2-40B4-BE49-F238E27FC236}">
                  <a16:creationId xmlns:a16="http://schemas.microsoft.com/office/drawing/2014/main" id="{28782AC9-524D-AE27-05BB-361B15DA100E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3769960" y="4758845"/>
              <a:ext cx="1685148" cy="492443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x-none"/>
              </a:defPPr>
              <a:lvl1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Wingdings" panose="05000000000000000000" pitchFamily="2" charset="2"/>
                <a:buChar char="§"/>
                <a:defRPr sz="1200" b="1">
                  <a:solidFill>
                    <a:schemeClr val="accent2"/>
                  </a:solidFill>
                  <a:cs typeface="+mn-ea"/>
                </a:defRPr>
              </a:lvl1pPr>
              <a:lvl2pPr>
                <a:buClr>
                  <a:schemeClr val="accent1"/>
                </a:buClr>
                <a:buFont typeface="Wingdings" panose="05000000000000000000" pitchFamily="2" charset="2"/>
                <a:buChar char="§"/>
              </a:lvl2pPr>
              <a:lvl3pPr>
                <a:buFont typeface="Symbol" panose="05050102010706020507" pitchFamily="18" charset="2"/>
                <a:buChar char="-"/>
              </a:lvl3pPr>
              <a:lvl4pPr>
                <a:buFont typeface="Symbol" panose="05050102010706020507" pitchFamily="18" charset="2"/>
                <a:buChar char="-"/>
              </a:lvl4pPr>
              <a:lvl5pPr>
                <a:buFont typeface="+mj-lt"/>
                <a:buAutoNum type="arabicPeriod"/>
              </a:lvl5pPr>
              <a:lvl6pPr>
                <a:buFont typeface="+mj-lt"/>
                <a:buAutoNum type="arabicPeriod"/>
              </a:lvl6pPr>
              <a:lvl7pPr>
                <a:buFont typeface="+mj-lt"/>
                <a:buAutoNum type="arabicPeriod"/>
              </a:lvl7pPr>
              <a:lvl8pPr>
                <a:buFont typeface="+mj-lt"/>
                <a:buAutoNum type="alphaLcParenR"/>
              </a:lvl8pPr>
              <a:lvl9pPr/>
            </a:lstStyle>
            <a:p>
              <a:pPr>
                <a:buNone/>
              </a:pPr>
              <a:r>
                <a:rPr lang="en-US" sz="1600" dirty="0">
                  <a:sym typeface="+mn-lt"/>
                </a:rPr>
                <a:t>Branded</a:t>
              </a:r>
              <a:br>
                <a:rPr lang="en-US" sz="1600" dirty="0">
                  <a:sym typeface="+mn-lt"/>
                </a:rPr>
              </a:br>
              <a:r>
                <a:rPr lang="en-US" sz="1600" dirty="0">
                  <a:sym typeface="+mn-lt"/>
                </a:rPr>
                <a:t>formatting tools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94CC64C4-B6D6-4E95-DFA7-B4FC9CA080B3}"/>
                </a:ext>
              </a:extLst>
            </p:cNvPr>
            <p:cNvGrpSpPr/>
            <p:nvPr/>
          </p:nvGrpSpPr>
          <p:grpSpPr>
            <a:xfrm>
              <a:off x="3896838" y="3142355"/>
              <a:ext cx="1431392" cy="1431392"/>
              <a:chOff x="3896837" y="3139180"/>
              <a:chExt cx="1431392" cy="1431392"/>
            </a:xfrm>
          </p:grpSpPr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69202F81-868C-3A6C-6DD5-475660748ACF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>
              <a:xfrm rot="5400000">
                <a:off x="3896837" y="3139180"/>
                <a:ext cx="1431392" cy="1431392"/>
              </a:xfrm>
              <a:prstGeom prst="rect">
                <a:avLst/>
              </a:prstGeom>
              <a:solidFill>
                <a:schemeClr val="accent2"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1" dirty="0">
                  <a:latin typeface="Lato Light" charset="0"/>
                </a:endParaRPr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B41DB9E6-5CE7-9407-B746-32256F70DB02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>
              <a:xfrm rot="5400000">
                <a:off x="4002868" y="3245211"/>
                <a:ext cx="1219330" cy="121933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1" dirty="0">
                  <a:latin typeface="Lato Light" charset="0"/>
                </a:endParaRPr>
              </a:p>
            </p:txBody>
          </p:sp>
          <p:pic>
            <p:nvPicPr>
              <p:cNvPr id="51" name="Graphic 50">
                <a:extLst>
                  <a:ext uri="{FF2B5EF4-FFF2-40B4-BE49-F238E27FC236}">
                    <a16:creationId xmlns:a16="http://schemas.microsoft.com/office/drawing/2014/main" id="{EA5222BF-5E98-DEDE-B0D6-DB5DE9A794E9}"/>
                  </a:ext>
                </a:extLst>
              </p:cNvPr>
              <p:cNvPicPr>
                <a:picLocks/>
              </p:cNvPicPr>
              <p:nvPr/>
            </p:nvPicPr>
            <p:blipFill>
              <a:blip r:embed="rId28">
                <a:extLst>
                  <a:ext uri="{96DAC541-7B7A-43D3-8B79-37D633B846F1}">
                    <asvg:svgBlip xmlns:asvg="http://schemas.microsoft.com/office/drawing/2016/SVG/main" r:embed="rId29"/>
                  </a:ext>
                </a:extLst>
              </a:blip>
              <a:stretch>
                <a:fillRect/>
              </a:stretch>
            </p:blipFill>
            <p:spPr>
              <a:xfrm>
                <a:off x="4288533" y="3530876"/>
                <a:ext cx="648000" cy="648000"/>
              </a:xfrm>
              <a:prstGeom prst="rect">
                <a:avLst/>
              </a:prstGeom>
            </p:spPr>
          </p:pic>
        </p:grpSp>
        <p:sp>
          <p:nvSpPr>
            <p:cNvPr id="79" name="Ellipse 2">
              <a:extLst>
                <a:ext uri="{FF2B5EF4-FFF2-40B4-BE49-F238E27FC236}">
                  <a16:creationId xmlns:a16="http://schemas.microsoft.com/office/drawing/2014/main" id="{8D09F150-BEF5-C6A5-33F9-ACBCA27F68D3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4299334" y="2133231"/>
              <a:ext cx="626400" cy="626400"/>
            </a:xfrm>
            <a:prstGeom prst="ellipse">
              <a:avLst/>
            </a:prstGeom>
            <a:solidFill>
              <a:srgbClr val="CCF1FF"/>
            </a:solidFill>
            <a:effectLst>
              <a:outerShdw blurRad="76200" sx="101000" sy="101000" algn="ctr" rotWithShape="0">
                <a:schemeClr val="tx1">
                  <a:alpha val="10000"/>
                </a:schemeClr>
              </a:outerShdw>
            </a:effectLst>
          </p:spPr>
          <p:txBody>
            <a:bodyPr vert="horz" lIns="72000" tIns="72000" rIns="72000" bIns="72000" rtlCol="0" anchor="ctr">
              <a:noAutofit/>
            </a:bodyPr>
            <a:lstStyle/>
            <a:p>
              <a:pPr algn="ctr">
                <a:buClr>
                  <a:srgbClr val="123F6E"/>
                </a:buClr>
              </a:pPr>
              <a:r>
                <a:rPr lang="en-US" sz="2000" dirty="0">
                  <a:solidFill>
                    <a:schemeClr val="bg1"/>
                  </a:solidFill>
                  <a:latin typeface="Segoe UI Semibold" panose="020B0702040204020203" pitchFamily="34" charset="0"/>
                  <a:ea typeface="+mj-ea"/>
                  <a:cs typeface="Segoe UI Semibold"/>
                </a:rPr>
                <a:t>1</a:t>
              </a:r>
            </a:p>
          </p:txBody>
        </p:sp>
        <p:sp>
          <p:nvSpPr>
            <p:cNvPr id="80" name="Ellipse 3">
              <a:extLst>
                <a:ext uri="{FF2B5EF4-FFF2-40B4-BE49-F238E27FC236}">
                  <a16:creationId xmlns:a16="http://schemas.microsoft.com/office/drawing/2014/main" id="{DEC660F3-5313-1FF0-A200-CA5A5493FBFE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4387534" y="2221430"/>
              <a:ext cx="450000" cy="45000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rtl="0" eaLnBrk="1" fontAlgn="auto" hangingPunct="1"/>
              <a:r>
                <a:rPr lang="en-US" sz="2000" b="0" i="0" u="none" baseline="0" dirty="0">
                  <a:solidFill>
                    <a:schemeClr val="accent2"/>
                  </a:solidFill>
                  <a:latin typeface="Segoe UI Semibold" panose="020B07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82A709C-1872-5B37-C271-1890A34F98D7}"/>
              </a:ext>
            </a:extLst>
          </p:cNvPr>
          <p:cNvGrpSpPr/>
          <p:nvPr/>
        </p:nvGrpSpPr>
        <p:grpSpPr>
          <a:xfrm>
            <a:off x="6530969" y="2133231"/>
            <a:ext cx="1685150" cy="3118057"/>
            <a:chOff x="6736897" y="2133231"/>
            <a:chExt cx="1685150" cy="3118057"/>
          </a:xfrm>
        </p:grpSpPr>
        <p:sp>
          <p:nvSpPr>
            <p:cNvPr id="15" name="Body 3">
              <a:extLst>
                <a:ext uri="{FF2B5EF4-FFF2-40B4-BE49-F238E27FC236}">
                  <a16:creationId xmlns:a16="http://schemas.microsoft.com/office/drawing/2014/main" id="{A247540E-C75A-24FA-6D45-0E179157A43B}"/>
                </a:ext>
              </a:extLst>
            </p:cNvPr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6736897" y="4758845"/>
              <a:ext cx="1685150" cy="492443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x-none"/>
              </a:defPPr>
              <a:lvl1pPr algn="ctr">
                <a:spcBef>
                  <a:spcPts val="300"/>
                </a:spcBef>
                <a:spcAft>
                  <a:spcPts val="300"/>
                </a:spcAft>
                <a:defRPr sz="1200" b="1">
                  <a:solidFill>
                    <a:schemeClr val="accent2"/>
                  </a:solidFill>
                  <a:cs typeface="+mn-ea"/>
                </a:defRPr>
              </a:lvl1pPr>
            </a:lstStyle>
            <a:p>
              <a:r>
                <a:rPr lang="en-US" sz="1600" dirty="0">
                  <a:solidFill>
                    <a:schemeClr val="accent3"/>
                  </a:solidFill>
                  <a:sym typeface="+mn-lt"/>
                </a:rPr>
                <a:t>Design</a:t>
              </a:r>
              <a:br>
                <a:rPr lang="en-US" sz="1600" dirty="0">
                  <a:solidFill>
                    <a:schemeClr val="accent3"/>
                  </a:solidFill>
                  <a:sym typeface="+mn-lt"/>
                </a:rPr>
              </a:br>
              <a:r>
                <a:rPr lang="en-US" sz="1600" dirty="0">
                  <a:solidFill>
                    <a:schemeClr val="accent3"/>
                  </a:solidFill>
                  <a:sym typeface="+mn-lt"/>
                </a:rPr>
                <a:t>asset library</a:t>
              </a:r>
            </a:p>
          </p:txBody>
        </p:sp>
        <p:cxnSp>
          <p:nvCxnSpPr>
            <p:cNvPr id="40" name="Connector: Elbow 43">
              <a:extLst>
                <a:ext uri="{FF2B5EF4-FFF2-40B4-BE49-F238E27FC236}">
                  <a16:creationId xmlns:a16="http://schemas.microsoft.com/office/drawing/2014/main" id="{D77790EA-DAF3-FCE5-39E2-EA9BD99C254D}"/>
                </a:ext>
              </a:extLst>
            </p:cNvPr>
            <p:cNvCxnSpPr>
              <a:cxnSpLocks/>
              <a:stCxn id="67" idx="1"/>
              <a:endCxn id="83" idx="4"/>
            </p:cNvCxnSpPr>
            <p:nvPr/>
          </p:nvCxnSpPr>
          <p:spPr>
            <a:xfrm flipV="1">
              <a:off x="7579472" y="2759631"/>
              <a:ext cx="0" cy="382724"/>
            </a:xfrm>
            <a:prstGeom prst="straightConnector1">
              <a:avLst/>
            </a:prstGeom>
            <a:ln w="1270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02F85F20-351B-94F6-FD03-153E21E8C8E6}"/>
                </a:ext>
              </a:extLst>
            </p:cNvPr>
            <p:cNvGrpSpPr/>
            <p:nvPr/>
          </p:nvGrpSpPr>
          <p:grpSpPr>
            <a:xfrm>
              <a:off x="6863776" y="3142355"/>
              <a:ext cx="1431392" cy="1431392"/>
              <a:chOff x="6863776" y="3139180"/>
              <a:chExt cx="1431392" cy="1431392"/>
            </a:xfrm>
          </p:grpSpPr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7AC4C335-D455-72A4-E7C4-5A90E3C8C9F5}"/>
                  </a:ext>
                </a:extLst>
              </p:cNvPr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>
              <a:xfrm rot="5400000">
                <a:off x="6863776" y="3139180"/>
                <a:ext cx="1431392" cy="1431392"/>
              </a:xfrm>
              <a:prstGeom prst="rect">
                <a:avLst/>
              </a:prstGeom>
              <a:solidFill>
                <a:schemeClr val="accent3"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1" dirty="0">
                  <a:latin typeface="Lato Light" charset="0"/>
                </a:endParaRP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20BE5B93-8AE7-2CC1-DAC9-10E3FF37B4AE}"/>
                  </a:ext>
                </a:extLst>
              </p:cNvPr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>
              <a:xfrm rot="5400000">
                <a:off x="6969806" y="3245211"/>
                <a:ext cx="1219330" cy="121933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1" dirty="0">
                  <a:latin typeface="Lato Light" charset="0"/>
                </a:endParaRPr>
              </a:p>
            </p:txBody>
          </p:sp>
          <p:pic>
            <p:nvPicPr>
              <p:cNvPr id="69" name="Graphic 68">
                <a:extLst>
                  <a:ext uri="{FF2B5EF4-FFF2-40B4-BE49-F238E27FC236}">
                    <a16:creationId xmlns:a16="http://schemas.microsoft.com/office/drawing/2014/main" id="{227B026A-E1A4-BA39-6A3C-8745A748CEDD}"/>
                  </a:ext>
                </a:extLst>
              </p:cNvPr>
              <p:cNvPicPr>
                <a:picLocks/>
              </p:cNvPicPr>
              <p:nvPr/>
            </p:nvPicPr>
            <p:blipFill>
              <a:blip r:embed="rId30">
                <a:extLst>
                  <a:ext uri="{96DAC541-7B7A-43D3-8B79-37D633B846F1}">
                    <asvg:svgBlip xmlns:asvg="http://schemas.microsoft.com/office/drawing/2016/SVG/main" r:embed="rId31"/>
                  </a:ext>
                </a:extLst>
              </a:blip>
              <a:stretch>
                <a:fillRect/>
              </a:stretch>
            </p:blipFill>
            <p:spPr>
              <a:xfrm>
                <a:off x="7291471" y="3566876"/>
                <a:ext cx="576000" cy="576000"/>
              </a:xfrm>
              <a:prstGeom prst="rect">
                <a:avLst/>
              </a:prstGeom>
            </p:spPr>
          </p:pic>
        </p:grpSp>
        <p:sp>
          <p:nvSpPr>
            <p:cNvPr id="83" name="Ellipse 2">
              <a:extLst>
                <a:ext uri="{FF2B5EF4-FFF2-40B4-BE49-F238E27FC236}">
                  <a16:creationId xmlns:a16="http://schemas.microsoft.com/office/drawing/2014/main" id="{834EBC35-6CE6-48A5-5EC4-0F85324B4BF9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7266272" y="2133231"/>
              <a:ext cx="626400" cy="626400"/>
            </a:xfrm>
            <a:prstGeom prst="ellipse">
              <a:avLst/>
            </a:prstGeom>
            <a:solidFill>
              <a:srgbClr val="DDE9FF"/>
            </a:solidFill>
            <a:effectLst/>
          </p:spPr>
          <p:txBody>
            <a:bodyPr vert="horz" lIns="72000" tIns="72000" rIns="72000" bIns="72000" rtlCol="0" anchor="ctr">
              <a:noAutofit/>
            </a:bodyPr>
            <a:lstStyle/>
            <a:p>
              <a:pPr algn="ctr">
                <a:buClr>
                  <a:srgbClr val="123F6E"/>
                </a:buClr>
              </a:pPr>
              <a:r>
                <a:rPr lang="en-US" sz="2000" dirty="0">
                  <a:solidFill>
                    <a:schemeClr val="bg1"/>
                  </a:solidFill>
                  <a:latin typeface="Segoe UI Semibold" panose="020B0702040204020203" pitchFamily="34" charset="0"/>
                  <a:ea typeface="+mj-ea"/>
                  <a:cs typeface="Segoe UI Semibold"/>
                </a:rPr>
                <a:t>1</a:t>
              </a:r>
            </a:p>
          </p:txBody>
        </p:sp>
        <p:sp>
          <p:nvSpPr>
            <p:cNvPr id="85" name="Ellipse 3">
              <a:extLst>
                <a:ext uri="{FF2B5EF4-FFF2-40B4-BE49-F238E27FC236}">
                  <a16:creationId xmlns:a16="http://schemas.microsoft.com/office/drawing/2014/main" id="{8EBC540A-BC68-C78A-2253-31C47D18F25A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7354472" y="2221430"/>
              <a:ext cx="450000" cy="45000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rtl="0" eaLnBrk="1" fontAlgn="auto" hangingPunct="1"/>
              <a:r>
                <a:rPr lang="en-US" sz="2000" b="0" i="0" u="none" baseline="0" dirty="0">
                  <a:solidFill>
                    <a:schemeClr val="accent3"/>
                  </a:solidFill>
                  <a:latin typeface="Segoe UI Semibold" panose="020B0702040204020203" pitchFamily="34" charset="0"/>
                  <a:cs typeface="Segoe UI Light" panose="020B0502040204020203" pitchFamily="34" charset="0"/>
                </a:rPr>
                <a:t>3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B0C253B-7BFC-420B-C052-EC210B418050}"/>
              </a:ext>
            </a:extLst>
          </p:cNvPr>
          <p:cNvGrpSpPr/>
          <p:nvPr/>
        </p:nvGrpSpPr>
        <p:grpSpPr>
          <a:xfrm>
            <a:off x="9086055" y="2133231"/>
            <a:ext cx="1685148" cy="3118057"/>
            <a:chOff x="9703836" y="2133231"/>
            <a:chExt cx="1685148" cy="3118057"/>
          </a:xfrm>
        </p:grpSpPr>
        <p:sp>
          <p:nvSpPr>
            <p:cNvPr id="21" name="Body 4">
              <a:extLst>
                <a:ext uri="{FF2B5EF4-FFF2-40B4-BE49-F238E27FC236}">
                  <a16:creationId xmlns:a16="http://schemas.microsoft.com/office/drawing/2014/main" id="{7B19DD44-4F08-18C4-DF11-64C23226BA4D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9703836" y="4758845"/>
              <a:ext cx="1685148" cy="492443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x-none"/>
              </a:defPPr>
              <a:lvl1pPr algn="ctr">
                <a:spcBef>
                  <a:spcPts val="300"/>
                </a:spcBef>
                <a:spcAft>
                  <a:spcPts val="300"/>
                </a:spcAft>
                <a:defRPr sz="1200" b="1">
                  <a:solidFill>
                    <a:schemeClr val="accent2"/>
                  </a:solidFill>
                  <a:cs typeface="+mn-ea"/>
                </a:defRPr>
              </a:lvl1pPr>
            </a:lstStyle>
            <a:p>
              <a:r>
                <a:rPr lang="en-US" sz="1600" dirty="0">
                  <a:solidFill>
                    <a:schemeClr val="accent4"/>
                  </a:solidFill>
                  <a:sym typeface="+mn-lt"/>
                </a:rPr>
                <a:t>Design </a:t>
              </a:r>
              <a:br>
                <a:rPr lang="en-US" sz="1600" dirty="0">
                  <a:solidFill>
                    <a:schemeClr val="accent4"/>
                  </a:solidFill>
                  <a:sym typeface="+mn-lt"/>
                </a:rPr>
              </a:br>
              <a:r>
                <a:rPr lang="en-US" sz="1600" dirty="0">
                  <a:solidFill>
                    <a:schemeClr val="accent4"/>
                  </a:solidFill>
                  <a:sym typeface="+mn-lt"/>
                </a:rPr>
                <a:t>check</a:t>
              </a:r>
            </a:p>
          </p:txBody>
        </p:sp>
        <p:cxnSp>
          <p:nvCxnSpPr>
            <p:cNvPr id="46" name="Connector: Elbow 43">
              <a:extLst>
                <a:ext uri="{FF2B5EF4-FFF2-40B4-BE49-F238E27FC236}">
                  <a16:creationId xmlns:a16="http://schemas.microsoft.com/office/drawing/2014/main" id="{5F7F2642-106C-62FA-1F96-36C8E40376B7}"/>
                </a:ext>
              </a:extLst>
            </p:cNvPr>
            <p:cNvCxnSpPr>
              <a:cxnSpLocks/>
              <a:stCxn id="71" idx="1"/>
              <a:endCxn id="87" idx="4"/>
            </p:cNvCxnSpPr>
            <p:nvPr/>
          </p:nvCxnSpPr>
          <p:spPr>
            <a:xfrm flipV="1">
              <a:off x="10546410" y="2759631"/>
              <a:ext cx="0" cy="382724"/>
            </a:xfrm>
            <a:prstGeom prst="straightConnector1">
              <a:avLst/>
            </a:prstGeom>
            <a:ln w="1270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30074346-5E24-0DDE-A02F-2E2661EB6548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 rot="5400000">
              <a:off x="9830714" y="3142355"/>
              <a:ext cx="1431392" cy="1431392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1" dirty="0">
                <a:latin typeface="Lato Light" charset="0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D980B05A-2F54-53AD-4C3B-6658B1F519EC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 rot="5400000">
              <a:off x="9936745" y="3248386"/>
              <a:ext cx="1219330" cy="121933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1" dirty="0">
                <a:latin typeface="Lato Light" charset="0"/>
              </a:endParaRPr>
            </a:p>
          </p:txBody>
        </p:sp>
        <p:pic>
          <p:nvPicPr>
            <p:cNvPr id="73" name="Graphic 72">
              <a:extLst>
                <a:ext uri="{FF2B5EF4-FFF2-40B4-BE49-F238E27FC236}">
                  <a16:creationId xmlns:a16="http://schemas.microsoft.com/office/drawing/2014/main" id="{519D3FA8-ADCD-260F-276D-60065E430DAC}"/>
                </a:ext>
              </a:extLst>
            </p:cNvPr>
            <p:cNvPicPr>
              <a:picLocks/>
            </p:cNvPicPr>
            <p:nvPr/>
          </p:nvPicPr>
          <p:blipFill>
            <a:blip r:embed="rId32"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10240410" y="3552051"/>
              <a:ext cx="612000" cy="612000"/>
            </a:xfrm>
            <a:prstGeom prst="rect">
              <a:avLst/>
            </a:prstGeom>
          </p:spPr>
        </p:pic>
        <p:sp>
          <p:nvSpPr>
            <p:cNvPr id="87" name="Ellipse 2">
              <a:extLst>
                <a:ext uri="{FF2B5EF4-FFF2-40B4-BE49-F238E27FC236}">
                  <a16:creationId xmlns:a16="http://schemas.microsoft.com/office/drawing/2014/main" id="{77059128-753C-34C9-CB5C-88E76893E05C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10233210" y="2133231"/>
              <a:ext cx="626400" cy="626400"/>
            </a:xfrm>
            <a:prstGeom prst="ellipse">
              <a:avLst/>
            </a:prstGeom>
            <a:solidFill>
              <a:srgbClr val="FCE4CC"/>
            </a:solidFill>
            <a:effectLst>
              <a:outerShdw blurRad="76200" sx="101000" sy="101000" algn="ctr" rotWithShape="0">
                <a:schemeClr val="tx1">
                  <a:alpha val="10000"/>
                </a:schemeClr>
              </a:outerShdw>
            </a:effectLst>
          </p:spPr>
          <p:txBody>
            <a:bodyPr vert="horz" lIns="72000" tIns="72000" rIns="72000" bIns="72000" rtlCol="0" anchor="ctr">
              <a:noAutofit/>
            </a:bodyPr>
            <a:lstStyle/>
            <a:p>
              <a:pPr algn="ctr">
                <a:buClr>
                  <a:srgbClr val="123F6E"/>
                </a:buClr>
              </a:pPr>
              <a:r>
                <a:rPr lang="en-US" sz="2000" dirty="0">
                  <a:solidFill>
                    <a:schemeClr val="bg1"/>
                  </a:solidFill>
                  <a:latin typeface="Segoe UI Semibold" panose="020B0702040204020203" pitchFamily="34" charset="0"/>
                  <a:ea typeface="+mj-ea"/>
                  <a:cs typeface="Segoe UI Semibold"/>
                </a:rPr>
                <a:t>1</a:t>
              </a:r>
            </a:p>
          </p:txBody>
        </p:sp>
        <p:sp>
          <p:nvSpPr>
            <p:cNvPr id="88" name="Ellipse 3">
              <a:extLst>
                <a:ext uri="{FF2B5EF4-FFF2-40B4-BE49-F238E27FC236}">
                  <a16:creationId xmlns:a16="http://schemas.microsoft.com/office/drawing/2014/main" id="{8CF00362-F0FF-0D4C-19F0-671074379075}"/>
                </a:ext>
              </a:extLst>
            </p:cNvPr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10321410" y="2221430"/>
              <a:ext cx="450000" cy="45000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rtl="0" eaLnBrk="1" fontAlgn="auto" hangingPunct="1"/>
              <a:r>
                <a:rPr lang="en-US" sz="2000" b="0" i="0" u="none" baseline="0" dirty="0">
                  <a:solidFill>
                    <a:schemeClr val="accent4"/>
                  </a:solidFill>
                  <a:latin typeface="Segoe UI Semibold" panose="020B0702040204020203" pitchFamily="34" charset="0"/>
                  <a:cs typeface="Segoe UI Light" panose="020B0502040204020203" pitchFamily="34" charset="0"/>
                </a:rPr>
                <a:t>4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95155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:asvg="http://schemas.microsoft.com/office/drawing/2016/SVG/main"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9054B0-1708-46CF-BF80-01D13C532D3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2000" y="332768"/>
            <a:ext cx="11088001" cy="936000"/>
          </a:xfrm>
        </p:spPr>
        <p:txBody>
          <a:bodyPr/>
          <a:lstStyle/>
          <a:p>
            <a:r>
              <a:rPr lang="en-US" dirty="0"/>
              <a:t>empower tools that can help with branding | </a:t>
            </a:r>
            <a:r>
              <a:rPr lang="en-US" dirty="0">
                <a:latin typeface="Segoe UI Semilight" panose="020B0402040204020203" pitchFamily="34" charset="0"/>
              </a:rPr>
              <a:t>1 of 4</a:t>
            </a: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E11C45D3-2B4C-10C2-7B36-446A79C0937D}"/>
              </a:ext>
            </a:extLst>
          </p:cNvPr>
          <p:cNvCxnSpPr>
            <a:cxnSpLocks/>
            <a:stCxn id="20" idx="2"/>
            <a:endCxn id="48" idx="0"/>
          </p:cNvCxnSpPr>
          <p:nvPr/>
        </p:nvCxnSpPr>
        <p:spPr>
          <a:xfrm rot="16200000" flipH="1">
            <a:off x="3159030" y="1700081"/>
            <a:ext cx="449454" cy="2181465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14AAA0A5-E2A4-2189-D114-50E8E0B91E3D}"/>
              </a:ext>
            </a:extLst>
          </p:cNvPr>
          <p:cNvCxnSpPr>
            <a:cxnSpLocks/>
            <a:stCxn id="21" idx="2"/>
            <a:endCxn id="51" idx="0"/>
          </p:cNvCxnSpPr>
          <p:nvPr/>
        </p:nvCxnSpPr>
        <p:spPr>
          <a:xfrm rot="5400000">
            <a:off x="8583515" y="1700083"/>
            <a:ext cx="449454" cy="2181464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Body 5">
            <a:extLst>
              <a:ext uri="{FF2B5EF4-FFF2-40B4-BE49-F238E27FC236}">
                <a16:creationId xmlns:a16="http://schemas.microsoft.com/office/drawing/2014/main" id="{10F85088-AD0F-0023-B1E0-4BC78AE8B762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291372" y="4210776"/>
            <a:ext cx="4676806" cy="865874"/>
          </a:xfrm>
          <a:prstGeom prst="round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6800" rIns="91440" bIns="4572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</a:rPr>
              <a:t>Easy to update and distribute</a:t>
            </a:r>
          </a:p>
        </p:txBody>
      </p:sp>
      <p:sp>
        <p:nvSpPr>
          <p:cNvPr id="18" name="Body 4">
            <a:extLst>
              <a:ext uri="{FF2B5EF4-FFF2-40B4-BE49-F238E27FC236}">
                <a16:creationId xmlns:a16="http://schemas.microsoft.com/office/drawing/2014/main" id="{F15A0F39-11FC-FB86-8D05-D34BDB88D3AD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223823" y="4210776"/>
            <a:ext cx="4676806" cy="865874"/>
          </a:xfrm>
          <a:prstGeom prst="roundRect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6800" rIns="91440" bIns="4572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</a:rPr>
              <a:t>Default template, launches</a:t>
            </a:r>
            <a:br>
              <a:rPr lang="en-US" sz="1600" dirty="0">
                <a:solidFill>
                  <a:schemeClr val="bg1"/>
                </a:solidFill>
                <a:latin typeface="+mj-lt"/>
              </a:rPr>
            </a:br>
            <a:r>
              <a:rPr lang="en-US" sz="1600" dirty="0">
                <a:solidFill>
                  <a:schemeClr val="bg1"/>
                </a:solidFill>
                <a:latin typeface="+mj-lt"/>
              </a:rPr>
              <a:t>as you open PowerPoint</a:t>
            </a: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05EA5462-6F63-F067-C036-D090AD228220}"/>
              </a:ext>
            </a:extLst>
          </p:cNvPr>
          <p:cNvCxnSpPr>
            <a:cxnSpLocks/>
            <a:stCxn id="18" idx="0"/>
            <a:endCxn id="45" idx="2"/>
          </p:cNvCxnSpPr>
          <p:nvPr/>
        </p:nvCxnSpPr>
        <p:spPr>
          <a:xfrm rot="5400000" flipH="1" flipV="1">
            <a:off x="4140891" y="3066421"/>
            <a:ext cx="565691" cy="172302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Body 1">
            <a:extLst>
              <a:ext uri="{FF2B5EF4-FFF2-40B4-BE49-F238E27FC236}">
                <a16:creationId xmlns:a16="http://schemas.microsoft.com/office/drawing/2014/main" id="{D0614BE0-66C2-4820-0142-FFBA9922DE1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552000" y="1700214"/>
            <a:ext cx="3482050" cy="865874"/>
          </a:xfrm>
          <a:prstGeom prst="round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6800" rIns="91440" bIns="4572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</a:rPr>
              <a:t>Multiple template options</a:t>
            </a:r>
          </a:p>
        </p:txBody>
      </p:sp>
      <p:sp>
        <p:nvSpPr>
          <p:cNvPr id="21" name="Body 3">
            <a:extLst>
              <a:ext uri="{FF2B5EF4-FFF2-40B4-BE49-F238E27FC236}">
                <a16:creationId xmlns:a16="http://schemas.microsoft.com/office/drawing/2014/main" id="{7A2169BD-A496-B5F0-6408-81397E16E280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8157949" y="1700214"/>
            <a:ext cx="3482050" cy="865874"/>
          </a:xfrm>
          <a:prstGeom prst="round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6800" rIns="91440" bIns="4572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</a:rPr>
              <a:t>Folder structure and</a:t>
            </a:r>
            <a:br>
              <a:rPr lang="en-US" sz="1600" dirty="0">
                <a:solidFill>
                  <a:schemeClr val="bg1"/>
                </a:solidFill>
                <a:latin typeface="+mj-lt"/>
              </a:rPr>
            </a:br>
            <a:r>
              <a:rPr lang="en-US" sz="1600" dirty="0">
                <a:solidFill>
                  <a:schemeClr val="bg1"/>
                </a:solidFill>
                <a:latin typeface="+mj-lt"/>
              </a:rPr>
              <a:t>permission model</a:t>
            </a:r>
          </a:p>
        </p:txBody>
      </p:sp>
      <p:sp>
        <p:nvSpPr>
          <p:cNvPr id="22" name="Body 2">
            <a:extLst>
              <a:ext uri="{FF2B5EF4-FFF2-40B4-BE49-F238E27FC236}">
                <a16:creationId xmlns:a16="http://schemas.microsoft.com/office/drawing/2014/main" id="{0EC2F758-E788-22A7-37D0-5CB1BF2F649A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354979" y="1700214"/>
            <a:ext cx="3482050" cy="865874"/>
          </a:xfrm>
          <a:prstGeom prst="round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6800" rIns="91440" bIns="4572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</a:rPr>
              <a:t>Accessible directly in PowerPoint</a:t>
            </a:r>
          </a:p>
        </p:txBody>
      </p:sp>
      <p:cxnSp>
        <p:nvCxnSpPr>
          <p:cNvPr id="23" name="Connector: Elbow 43">
            <a:extLst>
              <a:ext uri="{FF2B5EF4-FFF2-40B4-BE49-F238E27FC236}">
                <a16:creationId xmlns:a16="http://schemas.microsoft.com/office/drawing/2014/main" id="{6AC096A7-2EA9-32E8-7F8F-2D0F5D3A55D4}"/>
              </a:ext>
            </a:extLst>
          </p:cNvPr>
          <p:cNvCxnSpPr>
            <a:cxnSpLocks/>
            <a:stCxn id="22" idx="2"/>
            <a:endCxn id="28" idx="0"/>
          </p:cNvCxnSpPr>
          <p:nvPr/>
        </p:nvCxnSpPr>
        <p:spPr>
          <a:xfrm flipH="1">
            <a:off x="6095999" y="2566088"/>
            <a:ext cx="5" cy="440902"/>
          </a:xfrm>
          <a:prstGeom prst="straightConnector1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46">
            <a:extLst>
              <a:ext uri="{FF2B5EF4-FFF2-40B4-BE49-F238E27FC236}">
                <a16:creationId xmlns:a16="http://schemas.microsoft.com/office/drawing/2014/main" id="{CE2C4F2D-6B25-2145-F567-E3753E9608EE}"/>
              </a:ext>
            </a:extLst>
          </p:cNvPr>
          <p:cNvCxnSpPr>
            <a:cxnSpLocks/>
            <a:stCxn id="13" idx="0"/>
            <a:endCxn id="52" idx="2"/>
          </p:cNvCxnSpPr>
          <p:nvPr/>
        </p:nvCxnSpPr>
        <p:spPr>
          <a:xfrm rot="16200000" flipV="1">
            <a:off x="7485420" y="3066421"/>
            <a:ext cx="565691" cy="172302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5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8" name="Heading 1">
            <a:extLst>
              <a:ext uri="{FF2B5EF4-FFF2-40B4-BE49-F238E27FC236}">
                <a16:creationId xmlns:a16="http://schemas.microsoft.com/office/drawing/2014/main" id="{4F9F46CD-65BD-163A-3699-EE286A88B22D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215999" y="3006990"/>
            <a:ext cx="5760000" cy="762884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P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Segoe UI Semibold" panose="020B0702040204020203" pitchFamily="34" charset="0"/>
              </a:rPr>
              <a:t>Master template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A415FC2-67A0-F988-AF1B-F713FCD6626B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5207357" y="3015542"/>
            <a:ext cx="155778" cy="2521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70178A7-48D8-B8D1-E901-28D6F199BB52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6018112" y="3015542"/>
            <a:ext cx="155778" cy="2521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02684E8-E940-9CE9-5A6B-46C8B36C2458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6828868" y="3015542"/>
            <a:ext cx="155778" cy="2521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B905E4C-6221-9A61-021F-F69FF8A253C0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>
          <a:xfrm>
            <a:off x="5207357" y="3392900"/>
            <a:ext cx="155778" cy="2521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D967EFE-C6C7-5336-9633-238B79FE6006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6018112" y="3392900"/>
            <a:ext cx="155778" cy="2521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EA904C-6C8E-0E6E-7D59-05F6F4EA42A8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6828868" y="3392900"/>
            <a:ext cx="155778" cy="2521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5CA9314-EAA1-6C30-595E-91722D25B6C7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>
          <a:xfrm>
            <a:off x="5207357" y="3015542"/>
            <a:ext cx="155778" cy="2521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ACD604D-EA9F-87BC-9850-52E372BF2414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>
          <a:xfrm>
            <a:off x="6018112" y="3015542"/>
            <a:ext cx="155778" cy="2521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825640D-C5DC-DD10-1DAC-DFB92003081D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>
          <a:xfrm>
            <a:off x="6828868" y="3015542"/>
            <a:ext cx="155778" cy="2521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0215FD8-A66B-F0C4-AB5B-4B12039759E7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>
          <a:xfrm>
            <a:off x="5207357" y="3392900"/>
            <a:ext cx="155778" cy="2521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C804D09-8569-D611-5C0B-77482BC5A875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>
          <a:xfrm>
            <a:off x="6018112" y="3392900"/>
            <a:ext cx="155778" cy="2521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DD43635-2AE1-A8AE-B7DF-2022A9B12563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>
          <a:xfrm>
            <a:off x="6828868" y="3392900"/>
            <a:ext cx="155778" cy="2521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1B0A77D-91DC-74EC-0F36-B5F16A81995A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>
          <a:xfrm>
            <a:off x="4396601" y="3015542"/>
            <a:ext cx="155778" cy="2521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DD8CEB9-2EF9-9292-989F-23C9907D37EB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>
          <a:xfrm>
            <a:off x="4396601" y="3392900"/>
            <a:ext cx="155778" cy="2521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231A506-8C84-191A-EA2A-01738A1A674F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>
          <a:xfrm>
            <a:off x="6828866" y="3015542"/>
            <a:ext cx="155778" cy="2521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B5C982E-4412-2A89-3DCA-0579C9D0DA4C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>
          <a:xfrm>
            <a:off x="7639621" y="3015542"/>
            <a:ext cx="155778" cy="2521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AD07D73-1EC6-D376-D38A-840FF86E614F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>
          <a:xfrm>
            <a:off x="6828866" y="3392900"/>
            <a:ext cx="155778" cy="2521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BB48875-2697-C2DD-C048-B0BD802AC3C2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>
          <a:xfrm>
            <a:off x="7639621" y="3392900"/>
            <a:ext cx="155778" cy="25218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grpSp>
        <p:nvGrpSpPr>
          <p:cNvPr id="3" name="Key Message Arrow">
            <a:extLst>
              <a:ext uri="{FF2B5EF4-FFF2-40B4-BE49-F238E27FC236}">
                <a16:creationId xmlns:a16="http://schemas.microsoft.com/office/drawing/2014/main" id="{A5461BD7-1178-0DDA-B72F-9F3DFC369470}"/>
              </a:ext>
            </a:extLst>
          </p:cNvPr>
          <p:cNvGrpSpPr>
            <a:grpSpLocks/>
          </p:cNvGrpSpPr>
          <p:nvPr>
            <p:custDataLst>
              <p:tags r:id="rId27"/>
            </p:custDataLst>
          </p:nvPr>
        </p:nvGrpSpPr>
        <p:grpSpPr>
          <a:xfrm>
            <a:off x="552000" y="5406597"/>
            <a:ext cx="11088001" cy="614212"/>
            <a:chOff x="552000" y="5300806"/>
            <a:chExt cx="11088001" cy="720000"/>
          </a:xfrm>
        </p:grpSpPr>
        <p:sp>
          <p:nvSpPr>
            <p:cNvPr id="4" name="MIO_OBJECT1">
              <a:extLst>
                <a:ext uri="{FF2B5EF4-FFF2-40B4-BE49-F238E27FC236}">
                  <a16:creationId xmlns:a16="http://schemas.microsoft.com/office/drawing/2014/main" id="{AB608C81-A96A-02B6-86E7-A3C39203ACD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2000" y="5300806"/>
              <a:ext cx="708095" cy="72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r>
                <a:rPr lang="en-US" sz="240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  <a:sym typeface="Wingdings" panose="05000000000000000000" pitchFamily="2" charset="2"/>
                </a:rPr>
                <a:t></a:t>
              </a:r>
              <a:endParaRPr lang="en-US" sz="24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5" name="MIO_OBJECT3">
              <a:extLst>
                <a:ext uri="{FF2B5EF4-FFF2-40B4-BE49-F238E27FC236}">
                  <a16:creationId xmlns:a16="http://schemas.microsoft.com/office/drawing/2014/main" id="{91ECCC62-EF08-60D7-28B7-8965637F010A}"/>
                </a:ext>
              </a:extLst>
            </p:cNvPr>
            <p:cNvSpPr/>
            <p:nvPr/>
          </p:nvSpPr>
          <p:spPr>
            <a:xfrm>
              <a:off x="1366309" y="5300806"/>
              <a:ext cx="10273692" cy="720000"/>
            </a:xfrm>
            <a:prstGeom prst="rect">
              <a:avLst/>
            </a:prstGeom>
            <a:solidFill>
              <a:schemeClr val="bg2">
                <a:alpha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72000" rIns="72000" bIns="72000" rtlCol="0" anchor="ctr"/>
            <a:lstStyle/>
            <a:p>
              <a:r>
                <a:rPr lang="en-US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 well-designed template is key for effective brand protection</a:t>
              </a:r>
              <a:br>
                <a:rPr lang="en-US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nd simplifies the presentation creation process.</a:t>
              </a:r>
            </a:p>
          </p:txBody>
        </p:sp>
      </p:grpSp>
      <p:sp>
        <p:nvSpPr>
          <p:cNvPr id="6" name="_Subheading">
            <a:extLst>
              <a:ext uri="{FF2B5EF4-FFF2-40B4-BE49-F238E27FC236}">
                <a16:creationId xmlns:a16="http://schemas.microsoft.com/office/drawing/2014/main" id="{F429B795-6E91-17C0-6B64-D4C6C3891D29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552000" y="956760"/>
            <a:ext cx="11088001" cy="31200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600"/>
              </a:spcAft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600"/>
              </a:spcAft>
              <a:buFontTx/>
              <a:buNone/>
              <a:defRPr lang="en-US" sz="2000" b="1" kern="1200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600"/>
              </a:spcAft>
              <a:buFontTx/>
              <a:buNone/>
              <a:defRPr lang="en-US" sz="2000" b="1" kern="1200" baseline="0" noProof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6pPr>
            <a:lvl7pPr marL="250825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60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>
                <a:solidFill>
                  <a:schemeClr val="accent2"/>
                </a:solidFill>
                <a:ea typeface="+mj-ea"/>
                <a:cs typeface="+mj-cs"/>
              </a:rPr>
              <a:t>Master templates folder</a:t>
            </a:r>
            <a:endParaRPr lang="en-US" sz="20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0873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nner Box 4 - Orange">
            <a:extLst>
              <a:ext uri="{FF2B5EF4-FFF2-40B4-BE49-F238E27FC236}">
                <a16:creationId xmlns:a16="http://schemas.microsoft.com/office/drawing/2014/main" id="{F264FB5A-2C3D-4656-DDB0-BE5A9715C6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2000" y="1700213"/>
            <a:ext cx="11088003" cy="587755"/>
          </a:xfrm>
          <a:prstGeom prst="roundRect">
            <a:avLst>
              <a:gd name="adj" fmla="val 16668"/>
            </a:avLst>
          </a:prstGeom>
          <a:solidFill>
            <a:schemeClr val="accent2"/>
          </a:solidFill>
          <a:ln w="38100">
            <a:solidFill>
              <a:schemeClr val="bg1"/>
            </a:solidFill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46800" rIns="126000" bIns="45720" rtlCol="0" anchor="ctr"/>
          <a:lstStyle>
            <a:defPPr>
              <a:defRPr lang="en-PT"/>
            </a:defPPr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  <a:lvl2pPr marL="252000" lvl="1" indent="-252000" defTabSz="203200">
              <a:lnSpc>
                <a:spcPct val="105000"/>
              </a:lnSpc>
              <a:spcBef>
                <a:spcPts val="9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300"/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US" sz="1800"/>
              <a:t>Formatting tools set with your brand default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B6E21F1-831C-2A16-27A0-F13EA9873A6D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pPr lvl="1"/>
            <a:r>
              <a:rPr lang="en-US" dirty="0"/>
              <a:t>Controlled </a:t>
            </a:r>
            <a:r>
              <a:rPr lang="en-US" dirty="0">
                <a:solidFill>
                  <a:schemeClr val="accent4"/>
                </a:solidFill>
                <a:latin typeface="+mj-lt"/>
              </a:rPr>
              <a:t>font</a:t>
            </a:r>
            <a:r>
              <a:rPr lang="en-US" dirty="0"/>
              <a:t> list</a:t>
            </a:r>
          </a:p>
          <a:p>
            <a:pPr lvl="1">
              <a:spcBef>
                <a:spcPts val="2400"/>
              </a:spcBef>
            </a:pPr>
            <a:r>
              <a:rPr lang="en-US" dirty="0"/>
              <a:t>Controlled </a:t>
            </a:r>
            <a:r>
              <a:rPr lang="en-US" dirty="0">
                <a:solidFill>
                  <a:schemeClr val="accent4"/>
                </a:solidFill>
                <a:latin typeface="+mj-lt"/>
              </a:rPr>
              <a:t>color</a:t>
            </a:r>
            <a:r>
              <a:rPr lang="en-US" dirty="0"/>
              <a:t> pickers (with headings to instruct)</a:t>
            </a:r>
          </a:p>
          <a:p>
            <a:pPr lvl="1">
              <a:spcBef>
                <a:spcPts val="2400"/>
              </a:spcBef>
            </a:pPr>
            <a:r>
              <a:rPr lang="en-US" dirty="0"/>
              <a:t>Applies template </a:t>
            </a:r>
            <a:r>
              <a:rPr lang="en-US" dirty="0">
                <a:solidFill>
                  <a:schemeClr val="accent4"/>
                </a:solidFill>
                <a:latin typeface="+mj-lt"/>
              </a:rPr>
              <a:t>bulle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9DEC944-60AF-1C53-C94A-0A4C6DEA6D1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empower tools that can help with branding | </a:t>
            </a:r>
            <a:r>
              <a:rPr lang="en-US" dirty="0">
                <a:latin typeface="Segoe UI Semilight" panose="020B0402040204020203" pitchFamily="34" charset="0"/>
              </a:rPr>
              <a:t>2 of 4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52D595-410A-3F8A-B498-E555916504B0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Template specific branded formatting tool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115B3CD-46EF-5754-B6F1-72880753E18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75361" y="1831667"/>
            <a:ext cx="2180352" cy="31083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DC244AF-B393-884E-F085-B1E2B026653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00422" y="1831073"/>
            <a:ext cx="1552792" cy="157184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5" name="Key Message Arrow">
            <a:extLst>
              <a:ext uri="{FF2B5EF4-FFF2-40B4-BE49-F238E27FC236}">
                <a16:creationId xmlns:a16="http://schemas.microsoft.com/office/drawing/2014/main" id="{C11D84BD-BA54-4486-79F5-2037C4E70603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>
          <a:xfrm>
            <a:off x="552000" y="5300808"/>
            <a:ext cx="11088001" cy="720000"/>
            <a:chOff x="552000" y="5300806"/>
            <a:chExt cx="11088001" cy="720000"/>
          </a:xfrm>
        </p:grpSpPr>
        <p:sp>
          <p:nvSpPr>
            <p:cNvPr id="7" name="MIO_OBJECT1">
              <a:extLst>
                <a:ext uri="{FF2B5EF4-FFF2-40B4-BE49-F238E27FC236}">
                  <a16:creationId xmlns:a16="http://schemas.microsoft.com/office/drawing/2014/main" id="{197E8EF0-4EA1-96F1-A2D3-39FA8AD2B7F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2000" y="5300806"/>
              <a:ext cx="708095" cy="72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r>
                <a:rPr lang="en-US" sz="240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  <a:sym typeface="Wingdings" panose="05000000000000000000" pitchFamily="2" charset="2"/>
                </a:rPr>
                <a:t></a:t>
              </a:r>
              <a:endParaRPr lang="en-US" sz="24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0" name="MIO_OBJECT3">
              <a:extLst>
                <a:ext uri="{FF2B5EF4-FFF2-40B4-BE49-F238E27FC236}">
                  <a16:creationId xmlns:a16="http://schemas.microsoft.com/office/drawing/2014/main" id="{D6276B16-663C-E7AC-5CDD-C11EAB63FC0B}"/>
                </a:ext>
              </a:extLst>
            </p:cNvPr>
            <p:cNvSpPr/>
            <p:nvPr/>
          </p:nvSpPr>
          <p:spPr>
            <a:xfrm>
              <a:off x="1366309" y="5300806"/>
              <a:ext cx="10273692" cy="720000"/>
            </a:xfrm>
            <a:prstGeom prst="rect">
              <a:avLst/>
            </a:prstGeom>
            <a:solidFill>
              <a:schemeClr val="bg2">
                <a:alpha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72000" rIns="72000" bIns="72000" rtlCol="0" anchor="ctr"/>
            <a:lstStyle/>
            <a:p>
              <a:r>
                <a:rPr lang="en-US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 well-designed template is key for effective brand protection</a:t>
              </a:r>
              <a:br>
                <a:rPr lang="en-US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nd simplifies the presentation creation process.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81955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DB22E0F-2F04-3C99-E7D8-3FDF6A4B225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2000" y="1700808"/>
            <a:ext cx="11088001" cy="4320000"/>
          </a:xfrm>
        </p:spPr>
        <p:txBody>
          <a:bodyPr/>
          <a:lstStyle/>
          <a:p>
            <a:pPr lvl="4"/>
            <a:endParaRPr lang="en-GB" dirty="0"/>
          </a:p>
          <a:p>
            <a:endParaRPr lang="en-GB" dirty="0"/>
          </a:p>
          <a:p>
            <a:pPr lvl="1"/>
            <a:r>
              <a:rPr lang="en-GB" dirty="0">
                <a:solidFill>
                  <a:schemeClr val="accent4"/>
                </a:solidFill>
                <a:latin typeface="+mj-lt"/>
              </a:rPr>
              <a:t>Accessible directly </a:t>
            </a:r>
            <a:r>
              <a:rPr lang="en-GB" dirty="0"/>
              <a:t>in PowerPoint (incl. versions)</a:t>
            </a:r>
          </a:p>
          <a:p>
            <a:pPr lvl="1"/>
            <a:r>
              <a:rPr lang="en-GB" dirty="0">
                <a:solidFill>
                  <a:schemeClr val="accent4"/>
                </a:solidFill>
                <a:latin typeface="+mj-lt"/>
              </a:rPr>
              <a:t>Folder structure </a:t>
            </a:r>
            <a:r>
              <a:rPr lang="en-GB" dirty="0"/>
              <a:t>and adaptable </a:t>
            </a:r>
            <a:r>
              <a:rPr lang="en-GB" dirty="0">
                <a:solidFill>
                  <a:schemeClr val="accent4"/>
                </a:solidFill>
                <a:latin typeface="+mj-lt"/>
              </a:rPr>
              <a:t>permission</a:t>
            </a:r>
            <a:r>
              <a:rPr lang="en-GB" dirty="0"/>
              <a:t> </a:t>
            </a:r>
            <a:r>
              <a:rPr lang="en-GB" dirty="0">
                <a:solidFill>
                  <a:schemeClr val="accent4"/>
                </a:solidFill>
                <a:latin typeface="+mj-lt"/>
              </a:rPr>
              <a:t>model</a:t>
            </a:r>
          </a:p>
          <a:p>
            <a:pPr lvl="1"/>
            <a:r>
              <a:rPr lang="en-GB" dirty="0">
                <a:solidFill>
                  <a:schemeClr val="accent4"/>
                </a:solidFill>
                <a:latin typeface="+mj-lt"/>
              </a:rPr>
              <a:t>Library</a:t>
            </a:r>
            <a:r>
              <a:rPr lang="en-GB" dirty="0"/>
              <a:t> of objects, slide layouts and </a:t>
            </a:r>
            <a:br>
              <a:rPr lang="en-GB" dirty="0"/>
            </a:br>
            <a:r>
              <a:rPr lang="en-GB" dirty="0"/>
              <a:t>approved content and collateral</a:t>
            </a:r>
          </a:p>
          <a:p>
            <a:pPr lvl="1"/>
            <a:r>
              <a:rPr lang="en-GB" dirty="0">
                <a:solidFill>
                  <a:schemeClr val="accent4"/>
                </a:solidFill>
                <a:latin typeface="+mj-lt"/>
              </a:rPr>
              <a:t>Easily updated </a:t>
            </a:r>
            <a:r>
              <a:rPr lang="en-GB" dirty="0"/>
              <a:t>and </a:t>
            </a:r>
            <a:r>
              <a:rPr lang="en-GB" dirty="0">
                <a:solidFill>
                  <a:schemeClr val="accent4"/>
                </a:solidFill>
                <a:latin typeface="+mj-lt"/>
              </a:rPr>
              <a:t>instantly pushed out </a:t>
            </a:r>
            <a:r>
              <a:rPr lang="en-GB" dirty="0"/>
              <a:t>to users</a:t>
            </a:r>
          </a:p>
          <a:p>
            <a:pPr lvl="1"/>
            <a:r>
              <a:rPr lang="en-GB" dirty="0">
                <a:solidFill>
                  <a:schemeClr val="accent4"/>
                </a:solidFill>
                <a:latin typeface="+mj-lt"/>
              </a:rPr>
              <a:t>Easy to upload </a:t>
            </a:r>
            <a:r>
              <a:rPr lang="en-GB" dirty="0"/>
              <a:t>and create your library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2404B1D-0592-8810-7286-97F395F2A7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332768"/>
            <a:ext cx="11088001" cy="936000"/>
          </a:xfrm>
        </p:spPr>
        <p:txBody>
          <a:bodyPr/>
          <a:lstStyle/>
          <a:p>
            <a:r>
              <a:rPr lang="en-US" dirty="0"/>
              <a:t>empower tools that can help with branding | </a:t>
            </a:r>
            <a:r>
              <a:rPr lang="en-US" dirty="0">
                <a:latin typeface="+mn-lt"/>
              </a:rPr>
              <a:t>3 of 4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2F69ED-626F-18F1-7AC2-1B5CE24CF8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2000" y="956760"/>
            <a:ext cx="11088001" cy="312009"/>
          </a:xfrm>
        </p:spPr>
        <p:txBody>
          <a:bodyPr/>
          <a:lstStyle/>
          <a:p>
            <a:r>
              <a:rPr lang="en-US"/>
              <a:t>Design assets library</a:t>
            </a:r>
          </a:p>
        </p:txBody>
      </p:sp>
      <p:sp>
        <p:nvSpPr>
          <p:cNvPr id="5" name="Banner Box 4 - Orange">
            <a:extLst>
              <a:ext uri="{FF2B5EF4-FFF2-40B4-BE49-F238E27FC236}">
                <a16:creationId xmlns:a16="http://schemas.microsoft.com/office/drawing/2014/main" id="{2414AC6B-4BE5-ECB9-B949-7C2BBB039A7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2000" y="1700213"/>
            <a:ext cx="11088003" cy="587755"/>
          </a:xfrm>
          <a:prstGeom prst="roundRect">
            <a:avLst>
              <a:gd name="adj" fmla="val 16668"/>
            </a:avLst>
          </a:prstGeom>
          <a:solidFill>
            <a:schemeClr val="accent3"/>
          </a:solidFill>
          <a:ln w="38100">
            <a:solidFill>
              <a:schemeClr val="bg1"/>
            </a:solidFill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46800" rIns="126000" bIns="45720" rtlCol="0" anchor="ctr"/>
          <a:lstStyle>
            <a:defPPr>
              <a:defRPr lang="en-PT"/>
            </a:defPPr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  <a:lvl2pPr marL="252000" lvl="1" indent="-252000" defTabSz="203200">
              <a:lnSpc>
                <a:spcPct val="105000"/>
              </a:lnSpc>
              <a:spcBef>
                <a:spcPts val="9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300"/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sz="1800"/>
              <a:t>Create a library of asset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8C5ECD6-F2B3-9259-53F7-D19FAF62B6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33893" y="1892301"/>
            <a:ext cx="5090797" cy="296963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6" name="Key Message Arrow">
            <a:extLst>
              <a:ext uri="{FF2B5EF4-FFF2-40B4-BE49-F238E27FC236}">
                <a16:creationId xmlns:a16="http://schemas.microsoft.com/office/drawing/2014/main" id="{CF2312C4-13AD-4C6E-29DC-06B05C2A6AB3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552000" y="5300808"/>
            <a:ext cx="11088001" cy="720000"/>
            <a:chOff x="552000" y="5300806"/>
            <a:chExt cx="11088001" cy="720000"/>
          </a:xfrm>
        </p:grpSpPr>
        <p:sp>
          <p:nvSpPr>
            <p:cNvPr id="7" name="MIO_OBJECT1">
              <a:extLst>
                <a:ext uri="{FF2B5EF4-FFF2-40B4-BE49-F238E27FC236}">
                  <a16:creationId xmlns:a16="http://schemas.microsoft.com/office/drawing/2014/main" id="{3B2B4FDC-422C-73FF-69D6-3044263C0A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2000" y="5300806"/>
              <a:ext cx="708095" cy="72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r>
                <a:rPr lang="en-US" sz="2400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  <a:sym typeface="Wingdings" panose="05000000000000000000" pitchFamily="2" charset="2"/>
                </a:rPr>
                <a:t></a:t>
              </a:r>
              <a:endParaRPr lang="en-US" sz="2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8" name="MIO_OBJECT3">
              <a:extLst>
                <a:ext uri="{FF2B5EF4-FFF2-40B4-BE49-F238E27FC236}">
                  <a16:creationId xmlns:a16="http://schemas.microsoft.com/office/drawing/2014/main" id="{4D794363-CFB1-6567-5E01-B33C08642301}"/>
                </a:ext>
              </a:extLst>
            </p:cNvPr>
            <p:cNvSpPr/>
            <p:nvPr/>
          </p:nvSpPr>
          <p:spPr>
            <a:xfrm>
              <a:off x="1366309" y="5300806"/>
              <a:ext cx="10273692" cy="720000"/>
            </a:xfrm>
            <a:prstGeom prst="rect">
              <a:avLst/>
            </a:prstGeom>
            <a:solidFill>
              <a:schemeClr val="bg2">
                <a:alpha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72000" rIns="72000" bIns="72000" rtlCol="0" anchor="ctr"/>
            <a:lstStyle/>
            <a:p>
              <a:r>
                <a:rPr lang="en-US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ore information about how to create a brand assets library is available in a further tutorial</a:t>
              </a:r>
            </a:p>
            <a:p>
              <a:r>
                <a:rPr lang="en-US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– </a:t>
              </a:r>
              <a:r>
                <a:rPr lang="en-US" i="1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rand asset library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4924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A2F5FF-EABD-89EF-1F79-F8769994EF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4A0B92B-C404-BC8E-5F4E-E6BE23EB34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power tools that can help with branding | </a:t>
            </a:r>
            <a:r>
              <a:rPr lang="en-US" dirty="0">
                <a:latin typeface="Segoe UI Semilight" panose="020B0402040204020203" pitchFamily="34" charset="0"/>
              </a:rPr>
              <a:t>4 of 4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5F932A4-1DF8-DE47-0AC1-084B818F4A42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t="2151"/>
          <a:stretch/>
        </p:blipFill>
        <p:spPr>
          <a:xfrm>
            <a:off x="7755600" y="1700213"/>
            <a:ext cx="3884400" cy="4320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7" name="Key Message Arrow">
            <a:extLst>
              <a:ext uri="{FF2B5EF4-FFF2-40B4-BE49-F238E27FC236}">
                <a16:creationId xmlns:a16="http://schemas.microsoft.com/office/drawing/2014/main" id="{D87B62D0-18EE-B3F8-9E4A-9E4C919734D2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>
          <a:xfrm>
            <a:off x="552000" y="1700808"/>
            <a:ext cx="6793680" cy="720000"/>
            <a:chOff x="552000" y="5300806"/>
            <a:chExt cx="6793680" cy="720000"/>
          </a:xfrm>
        </p:grpSpPr>
        <p:sp>
          <p:nvSpPr>
            <p:cNvPr id="18" name="MIO_OBJECT1">
              <a:extLst>
                <a:ext uri="{FF2B5EF4-FFF2-40B4-BE49-F238E27FC236}">
                  <a16:creationId xmlns:a16="http://schemas.microsoft.com/office/drawing/2014/main" id="{D111BC17-8225-7818-327D-279169DBFD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2000" y="5300806"/>
              <a:ext cx="708095" cy="72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r>
                <a:rPr lang="en-US" sz="240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  <a:sym typeface="Wingdings" panose="05000000000000000000" pitchFamily="2" charset="2"/>
                </a:rPr>
                <a:t></a:t>
              </a:r>
              <a:endParaRPr lang="en-US" sz="24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9" name="MIO_OBJECT3">
              <a:extLst>
                <a:ext uri="{FF2B5EF4-FFF2-40B4-BE49-F238E27FC236}">
                  <a16:creationId xmlns:a16="http://schemas.microsoft.com/office/drawing/2014/main" id="{AF43331D-C0D0-42DB-5BCE-FF26337695B6}"/>
                </a:ext>
              </a:extLst>
            </p:cNvPr>
            <p:cNvSpPr/>
            <p:nvPr/>
          </p:nvSpPr>
          <p:spPr>
            <a:xfrm>
              <a:off x="1366309" y="5300806"/>
              <a:ext cx="5979371" cy="720000"/>
            </a:xfrm>
            <a:prstGeom prst="rect">
              <a:avLst/>
            </a:prstGeom>
            <a:solidFill>
              <a:schemeClr val="bg2">
                <a:alpha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72000" rIns="72000" bIns="72000" rtlCol="0" anchor="ctr"/>
            <a:lstStyle/>
            <a:p>
              <a:r>
                <a:rPr lang="en-US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 title placeholder</a:t>
              </a:r>
              <a:endParaRPr lang="en-US" dirty="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sp>
        <p:nvSpPr>
          <p:cNvPr id="10" name="_Subheading">
            <a:extLst>
              <a:ext uri="{FF2B5EF4-FFF2-40B4-BE49-F238E27FC236}">
                <a16:creationId xmlns:a16="http://schemas.microsoft.com/office/drawing/2014/main" id="{8BC5A00B-763A-AD4A-C3F0-206C46354CB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2000" y="956760"/>
            <a:ext cx="11088001" cy="31200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600"/>
              </a:spcAft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600"/>
              </a:spcAft>
              <a:buFontTx/>
              <a:buNone/>
              <a:defRPr lang="en-US" sz="2000" b="1" kern="1200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600"/>
              </a:spcAft>
              <a:buFontTx/>
              <a:buNone/>
              <a:defRPr lang="en-US" sz="2000" b="1" kern="1200" baseline="0" noProof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6pPr>
            <a:lvl7pPr marL="250825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60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>
                <a:solidFill>
                  <a:schemeClr val="accent2"/>
                </a:solidFill>
                <a:ea typeface="+mj-ea"/>
                <a:cs typeface="+mj-cs"/>
              </a:rPr>
              <a:t>Design check</a:t>
            </a:r>
          </a:p>
        </p:txBody>
      </p:sp>
      <p:grpSp>
        <p:nvGrpSpPr>
          <p:cNvPr id="11" name="Key Message Arrow">
            <a:extLst>
              <a:ext uri="{FF2B5EF4-FFF2-40B4-BE49-F238E27FC236}">
                <a16:creationId xmlns:a16="http://schemas.microsoft.com/office/drawing/2014/main" id="{2D3A76F8-BB8F-5D75-C017-4B69379AFE26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>
          <a:xfrm>
            <a:off x="552000" y="2900808"/>
            <a:ext cx="6793680" cy="720000"/>
            <a:chOff x="552000" y="5300806"/>
            <a:chExt cx="6793680" cy="720000"/>
          </a:xfrm>
        </p:grpSpPr>
        <p:sp>
          <p:nvSpPr>
            <p:cNvPr id="12" name="MIO_OBJECT1">
              <a:extLst>
                <a:ext uri="{FF2B5EF4-FFF2-40B4-BE49-F238E27FC236}">
                  <a16:creationId xmlns:a16="http://schemas.microsoft.com/office/drawing/2014/main" id="{7A5EF381-BFDF-89DE-45D7-0E1040D951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2000" y="5300806"/>
              <a:ext cx="708095" cy="72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r>
                <a:rPr lang="en-US" sz="240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  <a:sym typeface="Wingdings" panose="05000000000000000000" pitchFamily="2" charset="2"/>
                </a:rPr>
                <a:t></a:t>
              </a:r>
              <a:endParaRPr lang="en-US" sz="24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3" name="MIO_OBJECT3">
              <a:extLst>
                <a:ext uri="{FF2B5EF4-FFF2-40B4-BE49-F238E27FC236}">
                  <a16:creationId xmlns:a16="http://schemas.microsoft.com/office/drawing/2014/main" id="{AB90E6F9-509D-F85E-15A9-E552CEDF2828}"/>
                </a:ext>
              </a:extLst>
            </p:cNvPr>
            <p:cNvSpPr/>
            <p:nvPr/>
          </p:nvSpPr>
          <p:spPr>
            <a:xfrm>
              <a:off x="1366309" y="5300806"/>
              <a:ext cx="5979371" cy="720000"/>
            </a:xfrm>
            <a:prstGeom prst="rect">
              <a:avLst/>
            </a:prstGeom>
            <a:solidFill>
              <a:schemeClr val="bg2">
                <a:alpha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72000" rIns="72000" bIns="72000" rtlCol="0" anchor="ctr"/>
            <a:lstStyle/>
            <a:p>
              <a:r>
                <a:rPr lang="en-US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 color</a:t>
              </a:r>
              <a:endParaRPr lang="en-US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7" name="Key Message Arrow">
            <a:extLst>
              <a:ext uri="{FF2B5EF4-FFF2-40B4-BE49-F238E27FC236}">
                <a16:creationId xmlns:a16="http://schemas.microsoft.com/office/drawing/2014/main" id="{DBFC47DB-860E-0D74-0AAD-92B62ABE2CB1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>
          <a:xfrm>
            <a:off x="552000" y="4100808"/>
            <a:ext cx="6793680" cy="720000"/>
            <a:chOff x="552000" y="5300806"/>
            <a:chExt cx="6793680" cy="720000"/>
          </a:xfrm>
        </p:grpSpPr>
        <p:sp>
          <p:nvSpPr>
            <p:cNvPr id="8" name="MIO_OBJECT1">
              <a:extLst>
                <a:ext uri="{FF2B5EF4-FFF2-40B4-BE49-F238E27FC236}">
                  <a16:creationId xmlns:a16="http://schemas.microsoft.com/office/drawing/2014/main" id="{FE154444-7B41-B119-581A-BFC3C00B58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2000" y="5300806"/>
              <a:ext cx="708095" cy="72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r>
                <a:rPr lang="en-US" sz="240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  <a:sym typeface="Wingdings" panose="05000000000000000000" pitchFamily="2" charset="2"/>
                </a:rPr>
                <a:t></a:t>
              </a:r>
              <a:endParaRPr lang="en-US" sz="24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9" name="MIO_OBJECT3">
              <a:extLst>
                <a:ext uri="{FF2B5EF4-FFF2-40B4-BE49-F238E27FC236}">
                  <a16:creationId xmlns:a16="http://schemas.microsoft.com/office/drawing/2014/main" id="{55830641-B603-7A19-B52E-BDA9196FF62E}"/>
                </a:ext>
              </a:extLst>
            </p:cNvPr>
            <p:cNvSpPr/>
            <p:nvPr/>
          </p:nvSpPr>
          <p:spPr>
            <a:xfrm>
              <a:off x="1366309" y="5300806"/>
              <a:ext cx="5979371" cy="720000"/>
            </a:xfrm>
            <a:prstGeom prst="rect">
              <a:avLst/>
            </a:prstGeom>
            <a:solidFill>
              <a:schemeClr val="bg2">
                <a:alpha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72000" rIns="72000" bIns="72000" rtlCol="0" anchor="ctr"/>
            <a:lstStyle/>
            <a:p>
              <a:r>
                <a:rPr lang="en-US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 fonts</a:t>
              </a:r>
              <a:endParaRPr lang="en-US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14" name="Key Message Arrow">
            <a:extLst>
              <a:ext uri="{FF2B5EF4-FFF2-40B4-BE49-F238E27FC236}">
                <a16:creationId xmlns:a16="http://schemas.microsoft.com/office/drawing/2014/main" id="{2E84033E-0194-D814-2450-EDD12E8D8EA1}"/>
              </a:ext>
            </a:extLst>
          </p:cNvPr>
          <p:cNvGrpSpPr>
            <a:grpSpLocks/>
          </p:cNvGrpSpPr>
          <p:nvPr>
            <p:custDataLst>
              <p:tags r:id="rId6"/>
            </p:custDataLst>
          </p:nvPr>
        </p:nvGrpSpPr>
        <p:grpSpPr>
          <a:xfrm>
            <a:off x="552000" y="5300809"/>
            <a:ext cx="6793680" cy="720000"/>
            <a:chOff x="552000" y="5300806"/>
            <a:chExt cx="6793680" cy="720000"/>
          </a:xfrm>
        </p:grpSpPr>
        <p:sp>
          <p:nvSpPr>
            <p:cNvPr id="15" name="MIO_OBJECT1">
              <a:extLst>
                <a:ext uri="{FF2B5EF4-FFF2-40B4-BE49-F238E27FC236}">
                  <a16:creationId xmlns:a16="http://schemas.microsoft.com/office/drawing/2014/main" id="{94E80423-8EC8-8C84-25E3-9D668C5908C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2000" y="5300806"/>
              <a:ext cx="708095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r>
                <a:rPr lang="en-US" sz="240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  <a:sym typeface="Wingdings" panose="05000000000000000000" pitchFamily="2" charset="2"/>
                </a:rPr>
                <a:t></a:t>
              </a:r>
              <a:endParaRPr lang="en-US" sz="24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6" name="MIO_OBJECT3">
              <a:extLst>
                <a:ext uri="{FF2B5EF4-FFF2-40B4-BE49-F238E27FC236}">
                  <a16:creationId xmlns:a16="http://schemas.microsoft.com/office/drawing/2014/main" id="{4118D3BA-3C2B-EE5E-4624-1413DE46A321}"/>
                </a:ext>
              </a:extLst>
            </p:cNvPr>
            <p:cNvSpPr/>
            <p:nvPr/>
          </p:nvSpPr>
          <p:spPr>
            <a:xfrm>
              <a:off x="1366309" y="5300806"/>
              <a:ext cx="5979371" cy="720000"/>
            </a:xfrm>
            <a:prstGeom prst="rect">
              <a:avLst/>
            </a:prstGeom>
            <a:solidFill>
              <a:schemeClr val="bg2">
                <a:alpha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72000" rIns="72000" bIns="72000" rtlCol="0" anchor="ctr"/>
            <a:lstStyle/>
            <a:p>
              <a:r>
                <a:rPr lang="en-US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 bullets</a:t>
              </a:r>
              <a:endParaRPr lang="en-US" dirty="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566073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94E1607-8145-791F-1B69-74669D0A133B}"/>
              </a:ext>
            </a:extLst>
          </p:cNvPr>
          <p:cNvGrpSpPr/>
          <p:nvPr/>
        </p:nvGrpSpPr>
        <p:grpSpPr>
          <a:xfrm>
            <a:off x="0" y="0"/>
            <a:ext cx="6111433" cy="6858000"/>
            <a:chOff x="552000" y="1700808"/>
            <a:chExt cx="5820413" cy="4320001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9CCD15F-B887-CE2E-702B-955C7C71EDFC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552000" y="1700809"/>
              <a:ext cx="5812904" cy="4320000"/>
            </a:xfrm>
            <a:prstGeom prst="rect">
              <a:avLst/>
            </a:prstGeom>
            <a:gradFill flip="none" rotWithShape="1">
              <a:gsLst>
                <a:gs pos="30000">
                  <a:srgbClr val="174B94"/>
                </a:gs>
                <a:gs pos="0">
                  <a:schemeClr val="accent1"/>
                </a:gs>
                <a:gs pos="100000">
                  <a:schemeClr val="accent3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Background Scribble Full page gradient Sky Blue">
              <a:extLst>
                <a:ext uri="{FF2B5EF4-FFF2-40B4-BE49-F238E27FC236}">
                  <a16:creationId xmlns:a16="http://schemas.microsoft.com/office/drawing/2014/main" id="{FBD90304-B8B6-60CD-E19E-F7743FCADE72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552000" y="1700808"/>
              <a:ext cx="5820413" cy="4320000"/>
            </a:xfrm>
            <a:custGeom>
              <a:avLst/>
              <a:gdLst>
                <a:gd name="connsiteX0" fmla="*/ 6714175 w 12191999"/>
                <a:gd name="connsiteY0" fmla="*/ 0 h 6191520"/>
                <a:gd name="connsiteX1" fmla="*/ 8050801 w 12191999"/>
                <a:gd name="connsiteY1" fmla="*/ 0 h 6191520"/>
                <a:gd name="connsiteX2" fmla="*/ 10623550 w 12191999"/>
                <a:gd name="connsiteY2" fmla="*/ 692150 h 6191520"/>
                <a:gd name="connsiteX3" fmla="*/ 11134726 w 12191999"/>
                <a:gd name="connsiteY3" fmla="*/ 876300 h 6191520"/>
                <a:gd name="connsiteX4" fmla="*/ 10858501 w 12191999"/>
                <a:gd name="connsiteY4" fmla="*/ 2076451 h 6191520"/>
                <a:gd name="connsiteX5" fmla="*/ 8181976 w 12191999"/>
                <a:gd name="connsiteY5" fmla="*/ 2343151 h 6191520"/>
                <a:gd name="connsiteX6" fmla="*/ 12039359 w 12191999"/>
                <a:gd name="connsiteY6" fmla="*/ 2642538 h 6191520"/>
                <a:gd name="connsiteX7" fmla="*/ 12191999 w 12191999"/>
                <a:gd name="connsiteY7" fmla="*/ 2680470 h 6191520"/>
                <a:gd name="connsiteX8" fmla="*/ 12191999 w 12191999"/>
                <a:gd name="connsiteY8" fmla="*/ 4461251 h 6191520"/>
                <a:gd name="connsiteX9" fmla="*/ 12029198 w 12191999"/>
                <a:gd name="connsiteY9" fmla="*/ 4498611 h 6191520"/>
                <a:gd name="connsiteX10" fmla="*/ 3400734 w 12191999"/>
                <a:gd name="connsiteY10" fmla="*/ 4691832 h 6191520"/>
                <a:gd name="connsiteX11" fmla="*/ 10825317 w 12191999"/>
                <a:gd name="connsiteY11" fmla="*/ 4906297 h 6191520"/>
                <a:gd name="connsiteX12" fmla="*/ 10753725 w 12191999"/>
                <a:gd name="connsiteY12" fmla="*/ 6188486 h 6191520"/>
                <a:gd name="connsiteX13" fmla="*/ 483866 w 12191999"/>
                <a:gd name="connsiteY13" fmla="*/ 5753127 h 6191520"/>
                <a:gd name="connsiteX14" fmla="*/ 0 w 12191999"/>
                <a:gd name="connsiteY14" fmla="*/ 5700385 h 6191520"/>
                <a:gd name="connsiteX15" fmla="*/ 0 w 12191999"/>
                <a:gd name="connsiteY15" fmla="*/ 3731019 h 6191520"/>
                <a:gd name="connsiteX16" fmla="*/ 92261 w 12191999"/>
                <a:gd name="connsiteY16" fmla="*/ 3708145 h 6191520"/>
                <a:gd name="connsiteX17" fmla="*/ 1002891 w 12191999"/>
                <a:gd name="connsiteY17" fmla="*/ 3618271 h 6191520"/>
                <a:gd name="connsiteX18" fmla="*/ 25475 w 12191999"/>
                <a:gd name="connsiteY18" fmla="*/ 3349301 h 6191520"/>
                <a:gd name="connsiteX19" fmla="*/ 0 w 12191999"/>
                <a:gd name="connsiteY19" fmla="*/ 3338246 h 6191520"/>
                <a:gd name="connsiteX20" fmla="*/ 0 w 12191999"/>
                <a:gd name="connsiteY20" fmla="*/ 2172532 h 6191520"/>
                <a:gd name="connsiteX21" fmla="*/ 31629 w 12191999"/>
                <a:gd name="connsiteY21" fmla="*/ 2142588 h 6191520"/>
                <a:gd name="connsiteX22" fmla="*/ 7181852 w 12191999"/>
                <a:gd name="connsiteY22" fmla="*/ 1143000 h 6191520"/>
                <a:gd name="connsiteX23" fmla="*/ 6684468 w 12191999"/>
                <a:gd name="connsiteY23" fmla="*/ 45095 h 619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191999" h="6191520">
                  <a:moveTo>
                    <a:pt x="6714175" y="0"/>
                  </a:moveTo>
                  <a:lnTo>
                    <a:pt x="8050801" y="0"/>
                  </a:lnTo>
                  <a:lnTo>
                    <a:pt x="10623550" y="692150"/>
                  </a:lnTo>
                  <a:cubicBezTo>
                    <a:pt x="10793942" y="753533"/>
                    <a:pt x="10856384" y="764117"/>
                    <a:pt x="11134726" y="876300"/>
                  </a:cubicBezTo>
                  <a:cubicBezTo>
                    <a:pt x="11772901" y="1309688"/>
                    <a:pt x="11091478" y="2063050"/>
                    <a:pt x="10858501" y="2076451"/>
                  </a:cubicBezTo>
                  <a:cubicBezTo>
                    <a:pt x="10637716" y="2089151"/>
                    <a:pt x="9112251" y="2251076"/>
                    <a:pt x="8181976" y="2343151"/>
                  </a:cubicBezTo>
                  <a:cubicBezTo>
                    <a:pt x="9457135" y="2448720"/>
                    <a:pt x="10834391" y="2371974"/>
                    <a:pt x="12039359" y="2642538"/>
                  </a:cubicBezTo>
                  <a:lnTo>
                    <a:pt x="12191999" y="2680470"/>
                  </a:lnTo>
                  <a:lnTo>
                    <a:pt x="12191999" y="4461251"/>
                  </a:lnTo>
                  <a:lnTo>
                    <a:pt x="12029198" y="4498611"/>
                  </a:lnTo>
                  <a:cubicBezTo>
                    <a:pt x="10052580" y="4896281"/>
                    <a:pt x="3595103" y="4625802"/>
                    <a:pt x="3400734" y="4691832"/>
                  </a:cubicBezTo>
                  <a:cubicBezTo>
                    <a:pt x="3200095" y="4759992"/>
                    <a:pt x="9835794" y="4794506"/>
                    <a:pt x="10825317" y="4906297"/>
                  </a:cubicBezTo>
                  <a:cubicBezTo>
                    <a:pt x="11814840" y="5018088"/>
                    <a:pt x="11251074" y="6260794"/>
                    <a:pt x="10753725" y="6188486"/>
                  </a:cubicBezTo>
                  <a:cubicBezTo>
                    <a:pt x="8313425" y="6094676"/>
                    <a:pt x="4231215" y="6130491"/>
                    <a:pt x="483866" y="5753127"/>
                  </a:cubicBezTo>
                  <a:lnTo>
                    <a:pt x="0" y="5700385"/>
                  </a:lnTo>
                  <a:lnTo>
                    <a:pt x="0" y="3731019"/>
                  </a:lnTo>
                  <a:lnTo>
                    <a:pt x="92261" y="3708145"/>
                  </a:lnTo>
                  <a:cubicBezTo>
                    <a:pt x="430911" y="3635859"/>
                    <a:pt x="902136" y="3639908"/>
                    <a:pt x="1002891" y="3618271"/>
                  </a:cubicBezTo>
                  <a:cubicBezTo>
                    <a:pt x="992048" y="3621510"/>
                    <a:pt x="391872" y="3496392"/>
                    <a:pt x="25475" y="3349301"/>
                  </a:cubicBezTo>
                  <a:lnTo>
                    <a:pt x="0" y="3338246"/>
                  </a:lnTo>
                  <a:lnTo>
                    <a:pt x="0" y="2172532"/>
                  </a:lnTo>
                  <a:lnTo>
                    <a:pt x="31629" y="2142588"/>
                  </a:lnTo>
                  <a:cubicBezTo>
                    <a:pt x="905081" y="1446802"/>
                    <a:pt x="4950569" y="1355124"/>
                    <a:pt x="7181852" y="1143000"/>
                  </a:cubicBezTo>
                  <a:cubicBezTo>
                    <a:pt x="6322221" y="1016794"/>
                    <a:pt x="6432353" y="456605"/>
                    <a:pt x="6684468" y="45095"/>
                  </a:cubicBezTo>
                  <a:close/>
                </a:path>
              </a:pathLst>
            </a:custGeom>
            <a:gradFill flip="none" rotWithShape="1">
              <a:gsLst>
                <a:gs pos="47000">
                  <a:srgbClr val="2359AB"/>
                </a:gs>
                <a:gs pos="0">
                  <a:schemeClr val="accent3"/>
                </a:gs>
                <a:gs pos="100000">
                  <a:schemeClr val="accent1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FAD191F-CD5C-C973-BDE3-1B271016D345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2"/>
            </p:custDataLst>
          </p:nvPr>
        </p:nvSpPr>
        <p:spPr>
          <a:xfrm>
            <a:off x="550863" y="1436123"/>
            <a:ext cx="4608000" cy="4095480"/>
          </a:xfrm>
        </p:spPr>
        <p:txBody>
          <a:bodyPr/>
          <a:lstStyle>
            <a:lvl1pPr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>
              <a:buFont typeface="Symbol" panose="05050102010706020507" pitchFamily="18" charset="2"/>
              <a:buChar char="-"/>
            </a:lvl3pPr>
            <a:lvl4pPr>
              <a:buFont typeface="Symbol" panose="05050102010706020507" pitchFamily="18" charset="2"/>
              <a:buChar char="-"/>
            </a:lvl4pPr>
            <a:lvl5pPr>
              <a:buFont typeface="+mj-lt"/>
              <a:buAutoNum type="arabicPeriod"/>
            </a:lvl5pPr>
            <a:lvl6pPr>
              <a:buFont typeface="+mj-lt"/>
              <a:buAutoNum type="arabicPeriod"/>
            </a:lvl6pPr>
            <a:lvl7pPr>
              <a:buFont typeface="+mj-lt"/>
              <a:buAutoNum type="arabicPeriod"/>
            </a:lvl7pPr>
            <a:lvl8pPr>
              <a:buFont typeface="+mj-lt"/>
              <a:buAutoNum type="alphaLcParenR"/>
            </a:lvl8pPr>
            <a:lvl9pPr/>
          </a:lstStyle>
          <a:p>
            <a:pPr lvl="2">
              <a:spcBef>
                <a:spcPts val="1800"/>
              </a:spcBef>
              <a:buNone/>
            </a:pPr>
            <a:r>
              <a:rPr lang="en-GB" sz="4400" dirty="0"/>
              <a:t>Contact us about: </a:t>
            </a:r>
          </a:p>
          <a:p>
            <a:pPr marL="457200" lvl="2" indent="-457200">
              <a:spcBef>
                <a:spcPts val="1800"/>
              </a:spcBef>
              <a:buFont typeface="Wingdings" panose="05000000000000000000" pitchFamily="2" charset="2"/>
              <a:buChar char="ü"/>
            </a:pPr>
            <a:r>
              <a:rPr lang="en-GB" sz="2800" dirty="0"/>
              <a:t>Your template and brand design set up</a:t>
            </a:r>
          </a:p>
          <a:p>
            <a:pPr marL="457200" lvl="2" indent="-457200">
              <a:spcBef>
                <a:spcPts val="1800"/>
              </a:spcBef>
              <a:buFont typeface="Wingdings" panose="05000000000000000000" pitchFamily="2" charset="2"/>
              <a:buChar char="ü"/>
            </a:pPr>
            <a:r>
              <a:rPr lang="en-GB" sz="2800" dirty="0"/>
              <a:t>Reviewing, building or designing a template</a:t>
            </a:r>
          </a:p>
          <a:p>
            <a:pPr marL="457200" lvl="2" indent="-457200">
              <a:spcBef>
                <a:spcPts val="1800"/>
              </a:spcBef>
              <a:buFont typeface="Wingdings" panose="05000000000000000000" pitchFamily="2" charset="2"/>
              <a:buChar char="ü"/>
            </a:pPr>
            <a:r>
              <a:rPr lang="en-GB" sz="2800" dirty="0"/>
              <a:t>Setting up your library </a:t>
            </a:r>
          </a:p>
        </p:txBody>
      </p:sp>
      <p:sp>
        <p:nvSpPr>
          <p:cNvPr id="4" name="MIO_OBJECT1">
            <a:extLst>
              <a:ext uri="{FF2B5EF4-FFF2-40B4-BE49-F238E27FC236}">
                <a16:creationId xmlns:a16="http://schemas.microsoft.com/office/drawing/2014/main" id="{AD533E66-B10F-B9E1-9EAB-742D662DE4C2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6588000" y="3223668"/>
            <a:ext cx="708095" cy="72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  <a:sym typeface="Wingdings" panose="05000000000000000000" pitchFamily="2" charset="2"/>
              </a:rPr>
              <a:t></a:t>
            </a:r>
            <a:endParaRPr lang="en-US" sz="24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" name="MIO_OBJECT3">
            <a:extLst>
              <a:ext uri="{FF2B5EF4-FFF2-40B4-BE49-F238E27FC236}">
                <a16:creationId xmlns:a16="http://schemas.microsoft.com/office/drawing/2014/main" id="{2B68D2FF-00B8-4275-034C-8B705951409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402309" y="3223668"/>
            <a:ext cx="4225691" cy="720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72000" rIns="72000" bIns="72000" rtlCol="0" anchor="ctr"/>
          <a:lstStyle/>
          <a:p>
            <a:r>
              <a:rPr lang="en-US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ok at call with our </a:t>
            </a:r>
            <a:r>
              <a:rPr lang="en-US" dirty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sign team</a:t>
            </a:r>
          </a:p>
        </p:txBody>
      </p:sp>
      <p:sp>
        <p:nvSpPr>
          <p:cNvPr id="8" name="MIO_OBJECT1">
            <a:extLst>
              <a:ext uri="{FF2B5EF4-FFF2-40B4-BE49-F238E27FC236}">
                <a16:creationId xmlns:a16="http://schemas.microsoft.com/office/drawing/2014/main" id="{46AA0EF1-4ED7-4C8D-578B-49CD3B105D70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6588000" y="1729858"/>
            <a:ext cx="708095" cy="72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  <a:sym typeface="Wingdings" panose="05000000000000000000" pitchFamily="2" charset="2"/>
              </a:rPr>
              <a:t></a:t>
            </a:r>
            <a:endParaRPr lang="en-US" sz="24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" name="MIO_OBJECT3">
            <a:extLst>
              <a:ext uri="{FF2B5EF4-FFF2-40B4-BE49-F238E27FC236}">
                <a16:creationId xmlns:a16="http://schemas.microsoft.com/office/drawing/2014/main" id="{3CF46BF2-05FE-1582-144E-C4BB32006A1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02309" y="1729858"/>
            <a:ext cx="4225691" cy="720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72000" rIns="72000" bIns="72000" rtlCol="0" anchor="ctr"/>
          <a:lstStyle/>
          <a:p>
            <a:r>
              <a:rPr lang="en-US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mail us on </a:t>
            </a:r>
            <a:r>
              <a:rPr lang="en-US" dirty="0">
                <a:solidFill>
                  <a:schemeClr val="accent4"/>
                </a:solidFill>
                <a:latin typeface="Segoe UI Semibold" panose="020B0702040204020203" pitchFamily="34" charset="0"/>
                <a:cs typeface="Segoe UI Semibold" panose="020B0702040204020203" pitchFamily="34" charset="0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empower.express</a:t>
            </a:r>
            <a:endParaRPr lang="en-US" dirty="0">
              <a:solidFill>
                <a:schemeClr val="accent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2" name="MIO_OBJECT1">
            <a:extLst>
              <a:ext uri="{FF2B5EF4-FFF2-40B4-BE49-F238E27FC236}">
                <a16:creationId xmlns:a16="http://schemas.microsoft.com/office/drawing/2014/main" id="{3AF472D0-3F3D-1D18-7171-4FF8CBF60D04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6588000" y="4717477"/>
            <a:ext cx="708095" cy="72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  <a:sym typeface="Wingdings" panose="05000000000000000000" pitchFamily="2" charset="2"/>
              </a:rPr>
              <a:t></a:t>
            </a:r>
            <a:endParaRPr lang="en-US" sz="24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3" name="MIO_OBJECT3">
            <a:extLst>
              <a:ext uri="{FF2B5EF4-FFF2-40B4-BE49-F238E27FC236}">
                <a16:creationId xmlns:a16="http://schemas.microsoft.com/office/drawing/2014/main" id="{C059666E-2CD6-B58A-0CD3-7FAC7B91446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7402309" y="4717477"/>
            <a:ext cx="4225691" cy="720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72000" rIns="72000" bIns="72000" rtlCol="0" anchor="ctr"/>
          <a:lstStyle/>
          <a:p>
            <a:r>
              <a:rPr lang="en-US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ok at call with our </a:t>
            </a:r>
            <a:r>
              <a:rPr lang="en-US" dirty="0">
                <a:solidFill>
                  <a:schemeClr val="accent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raining tea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8172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:a14="http://schemas.microsoft.com/office/drawing/2010/main" xmlns:asvg="http://schemas.microsoft.com/office/drawing/2016/SVG/main" xmlns:ahyp="http://schemas.microsoft.com/office/drawing/2018/hyperlinkcolor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0XHekBT8OFKnYsp3S6sb0YEAAAAAAADAAAAAAADAAAAAwADAAIA////////BQAAAAMAEAALUxFzWTNQgUCZ6QEWSfWriQQAAAABAAMAAAACAAMAAAAEAAMAAAAAAP///////wQAAQD///////8FAAAABAAQAAscGWK7VcN6RrA3LWwe4TTd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Rcd6QFPw4UqdiyndLqxvRgNEYXRhABsAAAAETGlua2VkU2hhcGVEYXRhAAUAAAAAAAJOYW1lABkAAABMaW5rZWRTaGFwZXNEYXRhUHJvcGVydHkAEFZlcnNpb24AAAAAAAlMYXN0V3JpdGUAFhq5uoEBAAAAAQD/////xgDGAAAABV9pZAAQAAAABFMRc1kzUIFAmekBFkn1q4kDRGF0YQBTAAAACFByZXNlbnRhdGlvblNjYW5uZWRGb3JMaW5rZWRTaGFwZXMAAQJOdW1iZXJGb3JtYXRTZXBhcmF0b3JNb2RlAAoAAABBdXRvbWF0aWMAAAJOYW1lACQAAABMaW5rZWRTaGFwZVByZXNlbnRhdGlvblNldHRpbmdzRGF0YQAQVmVyc2lvbgAAAAAACUxhc3RXcml0ZQBiGrm6gQEAAAACAP////+DAIMAAAAFX2lkABAAAAAEHBliu1XDekawNy1sHuE03QNEYXRhABsAAAAETGlua2VkU2hhcGVEYXRhAAUAAAAAAAJOYW1lABkAAABMaW5rZWRTaGFwZXNEYXRhUHJvcGVydHkAEFZlcnNpb24AAQAAAAlMYXN0V3JpdGUAJfd5PY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hCw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GgAGTGlua2VkU2hhcGVzRGF0YVByb3BlcnR5XzAEAAAAAAAFAAAAAwAFAAAABAADAAIBAwAAAAMA////////JQAGTGlua2VkU2hhcGVQcmVzZW50YXRpb25TZXR0aW5nc0RhdGFfMAQAAAABAAUAAAAAAAUAAAACAAUAAAAAAP///////wQAAQEDAAAABAD///////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17302198379509"/>
  <p:tag name="EMPOWERCHARTSPROPERTIES_A_LENGTH" val="24576"/>
  <p:tag name="MIO_PRESENTATION_LANGUAGE" val="1033"/>
  <p:tag name="MIO_EKGUID" val="7f1b15e9-c263-41a4-afe6-8ce7d3db8172"/>
  <p:tag name="MIO_UPDATE" val="True"/>
  <p:tag name="MIO_VERSION" val="04.08.2025 09:25:23"/>
  <p:tag name="MIO_DBID" val="B8FCB12D-AF03-49EB-9F79-BB019BE99E1E"/>
  <p:tag name="MIO_LASTDOWNLOADED" val="19.08.2025 12:07:09.524"/>
  <p:tag name="MIO_OBJECTNAME" val="Branding concerns 1. |  Stay on Brand"/>
  <p:tag name="MIO_CONTENTTAG" val="u6fsN7j8kkGzSmrKp93X9Q=="/>
  <p:tag name="MIO_LASTEDITORNAME" val="Georgina DEMO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5ba3e29-3e69-460f-adc3-59bbb9830f62"/>
  <p:tag name="MIO_GUID" val="2542927e-b0ca-428c-91a8-fa3fc546aa23"/>
  <p:tag name="MIO_UPDATE" val="True"/>
  <p:tag name="MIO_VERSION" val="14.08.2022 19:59:51"/>
  <p:tag name="MIO_DBID" val="0F45B44C-9BC7-4D85-81C4-7155EE70A7B9"/>
  <p:tag name="MIO_LASTDOWNLOADED" val="21.08.2022 23:47:20.540"/>
  <p:tag name="MIO_OBJECTNAME" val="Picture 6"/>
  <p:tag name="MIO_LASTEDITORNAME" val="Stephan Kuhner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a636deb-6d2d-43a6-a3ad-8dac1ad5d045"/>
  <p:tag name="MIO_EKGUID" val="55b6cd85-313d-4333-bd73-f1b367535a00"/>
  <p:tag name="MIO_UPDATE" val="True"/>
  <p:tag name="MIO_VERSION" val="23.06.2025 10:33:17"/>
  <p:tag name="MIO_DBID" val="b8fcb12d-af03-49eb-9f79-bb019be99e1e"/>
  <p:tag name="MIO_LASTDOWNLOADED" val="19.08.2025 11:07:05"/>
  <p:tag name="MIO_OBJECTNAME" val="empower tools that can help with branding | 3 of 4"/>
  <p:tag name="MIO_LASTEDITORNAME" val="Georgina DEMO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3fb4826-a558-4613-a4ba-a171b646c515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MAAAAAAAAAAwAAAAMAAAAA/////wUA/gsAAAAAAAAAAAAAIAD///////////////8AAAD////////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y6XRGpAeDlGq6Rz2Twl9YUEAAAAAAADAAAABAADAAAAAwADAAIA////////BQAAAAMAEAAL8Y8EoUZA4EOSx+20iYCGzwQAAAABAAMAAAACAAMAAAABAAMAAAAEAP///////wQAAgD///////8FAAAABAAQAAtZQsUHK3huT4Vo8uFsHhdK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LpdEakB4OUarpHPZPCX1hQREYXRhAAUAAAAAAk5hbWUADQAAAExpbmtEYXRhTGlzdAAQVmVyc2lvbgABAAAACUxhc3RXcml0ZQAG3RtVkAEAAAABAP////9hAGEAAAAFX2lkABAAAAAE8Y8EoUZA4EOSx+20iYCGzwREYXRhAAUAAAAAAk5hbWUADQAAAExpbmtEYXRhTGlzdAAQVmVyc2lvbgAAAAAACUxhc3RXcml0ZQAB3RtVkAEAAAACAP////9wAHAAAAAFX2lkABAAAAAEWULFByt4bk+FaPLhbB4XSgNEYXRhABYAAAACUGVyc29uYWxJZAABAAAAAAACTmFtZQALAAAAUGVyc29uYWxJZAAQVmVyc2lvbgAAAAAACUxhc3RXcml0ZQAk3RtV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DAP///////wUAAAAD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UBAwAAAAQA////////DAAGUGVyc29uYWxJZF8wBAAAAAIABQAAAAIABQAAAAEABQAAAAMA////////BQAAAAA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50116078681560"/>
  <p:tag name="EMPOWERCHARTSPROPERTIES_B_LENGTH" val="24576"/>
  <p:tag name="DOWN_MIGRATION_INITIAL_LAYOUT_REQUIRED" val="9.2.99"/>
  <p:tag name="RUNTIME_ID" val="8d91d865-4d2a-40f8-b891-c57ed498f581"/>
  <p:tag name="MIO_EKGUID" val="02581bcd-d927-44cb-b92c-a4195f7fdc1b"/>
  <p:tag name="MIO_UPDATE" val="True"/>
  <p:tag name="MIO_VERSION" val="04.11.2024 15:37:03"/>
  <p:tag name="MIO_DBID" val="B8FCB12D-AF03-49EB-9F79-BB019BE99E1E"/>
  <p:tag name="MIO_LASTDOWNLOADED" val="09.06.2025 16:06:52.305"/>
  <p:tag name="MIO_OBJECTNAME" val="Banner Box 4 - Orange"/>
  <p:tag name="MIO_CONTENTTAG" val="1TdWDIsV206NpfRW5HPoWQ=="/>
  <p:tag name="MIO_LASTEDITORNAME" val="Georgina DEMO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6a3364b-6ec0-4d71-a5f2-907547e43e17"/>
  <p:tag name="MIO_EKGUID" val="fee61495-3914-4066-ae0d-cd41f2784834"/>
  <p:tag name="MIO_UPDATE" val="True"/>
  <p:tag name="MIO_VERSION" val="13.06.2024 12:32:24"/>
  <p:tag name="MIO_DBID" val="B8FCB12D-AF03-49EB-9F79-BB019BE99E1E"/>
  <p:tag name="MIO_LASTDOWNLOADED" val="09.06.2025 13:55:34.125"/>
  <p:tag name="MIO_OBJECTNAME" val="Key Message Arrow"/>
  <p:tag name="MIO_CONTENTTAG" val="XmaLaih3eE2jYGYkzgSsng=="/>
  <p:tag name="MIO_LASTEDITORNAME" val="Georgina DEMO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ad62c25-8b79-40a0-9287-46415f2da45f"/>
  <p:tag name="MIO_EKGUID" val="40a42d0e-67a1-4f4d-8ffd-34c54be3a0eb"/>
  <p:tag name="MIO_UPDATE" val="True"/>
  <p:tag name="MIO_VERSION" val="23.06.2025 10:33:17"/>
  <p:tag name="MIO_DBID" val="b8fcb12d-af03-49eb-9f79-bb019be99e1e"/>
  <p:tag name="MIO_LASTDOWNLOADED" val="19.08.2025 11:07:05"/>
  <p:tag name="MIO_OBJECTNAME" val="empower tools that can help with branding | 4 of 4"/>
  <p:tag name="MIO_LASTEDITORNAME" val="Georgina DEMO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6a3364b-6ec0-4d71-a5f2-907547e43e17"/>
  <p:tag name="MIO_EKGUID" val="fee61495-3914-4066-ae0d-cd41f2784834"/>
  <p:tag name="MIO_UPDATE" val="True"/>
  <p:tag name="MIO_VERSION" val="13.06.2024 12:32:24"/>
  <p:tag name="MIO_DBID" val="B8FCB12D-AF03-49EB-9F79-BB019BE99E1E"/>
  <p:tag name="MIO_LASTDOWNLOADED" val="09.06.2025 13:55:34.125"/>
  <p:tag name="MIO_OBJECTNAME" val="Key Message Arrow"/>
  <p:tag name="MIO_CONTENTTAG" val="XmaLaih3eE2jYGYkzgSsng=="/>
  <p:tag name="MIO_LASTEDITORNAME" val="Georgina DEMO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93b4a9a-95d0-4b2c-ad9b-b8226bb3cf9c"/>
  <p:tag name="MIO_GUID" val="b6f76d8a-3021-4994-a903-933a525b61fd"/>
  <p:tag name="MIO_UPDATE" val="True"/>
  <p:tag name="MIO_VERSION" val="27.05.2024 16:50:16"/>
  <p:tag name="MIO_DBID" val="B8FCB12D-AF03-49EB-9F79-BB019BE99E1E"/>
  <p:tag name="MIO_LASTDOWNLOADED" val="09.06.2025 17:09:16.126"/>
  <p:tag name="MIO_OBJECTNAME" val="_Subheading"/>
  <p:tag name="MIO_CONTENTTAG" val="S23kl13Yp0mzi9a4WjVfZA=="/>
  <p:tag name="MIO_LASTEDITORNAME" val="Georgina DEMO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6a3364b-6ec0-4d71-a5f2-907547e43e17"/>
  <p:tag name="MIO_EKGUID" val="fee61495-3914-4066-ae0d-cd41f2784834"/>
  <p:tag name="MIO_UPDATE" val="True"/>
  <p:tag name="MIO_VERSION" val="13.06.2024 12:32:24"/>
  <p:tag name="MIO_DBID" val="B8FCB12D-AF03-49EB-9F79-BB019BE99E1E"/>
  <p:tag name="MIO_LASTDOWNLOADED" val="09.06.2025 13:55:34.125"/>
  <p:tag name="MIO_OBJECTNAME" val="Key Message Arrow"/>
  <p:tag name="MIO_CONTENTTAG" val="XmaLaih3eE2jYGYkzgSsng=="/>
  <p:tag name="MIO_LASTEDITORNAME" val="Georgina DEMO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6a3364b-6ec0-4d71-a5f2-907547e43e17"/>
  <p:tag name="MIO_EKGUID" val="fee61495-3914-4066-ae0d-cd41f2784834"/>
  <p:tag name="MIO_UPDATE" val="True"/>
  <p:tag name="MIO_VERSION" val="13.06.2024 12:32:24"/>
  <p:tag name="MIO_DBID" val="B8FCB12D-AF03-49EB-9F79-BB019BE99E1E"/>
  <p:tag name="MIO_LASTDOWNLOADED" val="09.06.2025 13:55:34.125"/>
  <p:tag name="MIO_OBJECTNAME" val="Key Message Arrow"/>
  <p:tag name="MIO_CONTENTTAG" val="XmaLaih3eE2jYGYkzgSsng=="/>
  <p:tag name="MIO_LASTEDITORNAME" val="Georgina DEM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6a3364b-6ec0-4d71-a5f2-907547e43e17"/>
  <p:tag name="MIO_EKGUID" val="fee61495-3914-4066-ae0d-cd41f2784834"/>
  <p:tag name="MIO_UPDATE" val="True"/>
  <p:tag name="MIO_VERSION" val="13.06.2024 12:32:24"/>
  <p:tag name="MIO_DBID" val="B8FCB12D-AF03-49EB-9F79-BB019BE99E1E"/>
  <p:tag name="MIO_LASTDOWNLOADED" val="09.06.2025 13:55:34.125"/>
  <p:tag name="MIO_OBJECTNAME" val="Key Message Arrow"/>
  <p:tag name="MIO_CONTENTTAG" val="XmaLaih3eE2jYGYkzgSsng=="/>
  <p:tag name="MIO_LASTEDITORNAME" val="Georgina DEMO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249f83d-07ac-4640-af95-e656a15a79c8"/>
  <p:tag name="MIO_CONTENTTAG" val="86+9oWWBbUC61UwhTX1DnQ=="/>
  <p:tag name="MIO_EKGUID" val="d28761cf-519c-480c-b980-22eca043cc50"/>
  <p:tag name="MIO_UPDATE" val="True"/>
  <p:tag name="MIO_VERSION" val="23.06.2025 10:33:17"/>
  <p:tag name="MIO_DBID" val="b8fcb12d-af03-49eb-9f79-bb019be99e1e"/>
  <p:tag name="MIO_LASTDOWNLOADED" val="19.08.2025 11:07:06"/>
  <p:tag name="MIO_OBJECTNAME" val="Contact us about: Your template and brand design set upReviewing, building or designing a templateSetting up your library"/>
  <p:tag name="MIO_LASTEDITORNAME" val="Georgina DEMO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EMBED_FONT" val="False"/>
  <p:tag name="MIO_SKIPVERSION" val="01.01.0001 00:00:00"/>
  <p:tag name="MIO_EKGUID" val="5e582455-eb90-4e8e-ac43-43a20fda9484"/>
  <p:tag name="MIO_DBID" val="B8FCB12D-AF03-49EB-9F79-BB019BE99E1E"/>
  <p:tag name="MIO_OBJECTNAME" val="empower Blue 2023"/>
  <p:tag name="MIO_CD_LAYOUT_VALID_AREA" val="False"/>
  <p:tag name="MIO_FALLBACK_LAYOUT" val="14"/>
  <p:tag name="MIO_AVOID_BLANK_LAYOUT" val="False"/>
  <p:tag name="MIO_MATCH_COLOR_SCHEME" val="False"/>
  <p:tag name="MIO_SHOW_DATE" val="False"/>
  <p:tag name="MIO_SHOW_FOOTER" val="False"/>
  <p:tag name="MIO_SHOW_PAGENUMBER" val="False"/>
  <p:tag name="MIO_NUMBER_OF_VALID_LAYOUTS" val="100"/>
  <p:tag name="MIO_VERSION" val="22.05.2024 11:35:55"/>
  <p:tag name="MIO_LASTDOWNLOADED" val="22.05.2024 12:38:35.043"/>
  <p:tag name="MIO_CONTENTTAG" val="Ul7saRY/Hk+gDi560B268g=="/>
  <p:tag name="MIO_CDID" val="7e112968-5c67-4980-b6c7-7641b443215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+bh3Gk3UshDriI5waE1g+4EAAAAAAADAAAAAAADAAAAAwADAAAAAAADAAAAAwADAAIA////////BQAAAAMAEAALfPmTwRrStkqmCZmpADpqWgQAAAABAAMAAAACAAMAAAAEAAMAAAACAP///////wQAAQD///////8FAAAABAAQAAuiOKvu/nKlQoah4V7b90h5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5uHcaTdSyEOuIjnBoTWD7gREYXRhAAUAAAAAAk5hbWUADQAAAExpbmtEYXRhTGlzdAAQVmVyc2lvbgAAAAAACUxhc3RXcml0ZQC2fOTDjwEAAAABAP////9hAGEAAAAFX2lkABAAAAAEfPmTwRrStkqmCZmpADpqWgREYXRhAAUAAAAAAk5hbWUADQAAAExpbmtEYXRhTGlzdAAQVmVyc2lvbgABAAAACUxhc3RXcml0ZQC3fOTDjwEAAAACAP////9wAHAAAAAFX2lkABAAAAAEojir7v5ypUKGoeFe2/dIeQNEYXRhABYAAAACUGVyc29uYWxJZAABAAAAAAACTmFtZQALAAAAUGVyc29uYWxJZAAQVmVyc2lvbgAAAAAACUxhc3RXcml0ZQDkfOTD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IBAwAAAAMA////////DgAGTGlua0RhdGFMaXN0XzEEAAAAAQAFAAAAAgAFAAAABAAFAAAAAg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5752824245281"/>
  <p:tag name="EMPOWERCHARTSPROPERTIES_B_LENGTH" val="24576"/>
  <p:tag name="DOWN_MIGRATION_INITIAL_LAYOUT_REQUIRED" val="9.2.99"/>
  <p:tag name="RUNTIME_ID" val="05da561b-f2ec-401b-a0fe-47c05fcba159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766f80f-e3cb-4d68-ab19-4a597a5ce11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21f2f87-e315-4ec3-ade5-3aade1a101f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5e4c9bd-a2c9-4389-abe5-3c6a508f1c3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ff2f33f-5af9-4202-9acc-24d71c1d4c7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1948fa3-958b-411f-82f8-ad754ddb77d6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12be551-0a25-4813-839f-e8cf2bc12fd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/////wUA/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+s4AicNM31JqaRUdX+geQUEAAAAAAADAAAAAAADAAAABAADAAAAAAD///////8DAAAAAAD///////8DAAEA////////BQAAAAMAEAAL2v5hrC1Bf0O03o2AQ7UVUwQAAAABAAMAAAAEAAMAAAABAAQAAQD///////8FAAAABAAQAAtSH4tqPAbfT7DVJ42ZjUuG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6zgCJw0zfUmppFR1f6B5BQREYXRhAAUAAAAAAk5hbWUADQAAAExpbmtEYXRhTGlzdAAQVmVyc2lvbgABAAAACUxhc3RXcml0ZQC2bOHDjwEAAAABAP////9hAGEAAAAFX2lkABAAAAAE2v5hrC1Bf0O03o2AQ7UVUwREYXRhAAUAAAAAAk5hbWUADQAAAExpbmtEYXRhTGlzdAAQVmVyc2lvbgAAAAAACUxhc3RXcml0ZQCUbOHDjwEAAAACAP////9wAHAAAAAFX2lkABAAAAAEUh+LajwG30+w1SeNmY1LhgNEYXRhABYAAAACUGVyc29uYWxJZAABAAAAAAACTmFtZQALAAAAUGVyc29uYWxJZAAQVmVyc2lvbgAAAAAACUxhc3RXcml0ZQDNbOHD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DAP///////wUAAAACAP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AFAAAABAADAAEBAwAAAAMA////////DgAGTGlua0RhdGFMaXN0XzAEAAAAAQAFAAAAAAAFAAAAAgAEAAQBAwAAAAQA////////DAAGUGVyc29uYWxJZF8wBAAAAAIABQAAAAIABQAAAAEABQAAAAIA////////BQAAAAI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5750816958870"/>
  <p:tag name="EMPOWERCHARTSPROPERTIES_B_LENGTH" val="24576"/>
  <p:tag name="DOWN_MIGRATION_INITIAL_LAYOUT_REQUIRED" val="9.2.99"/>
  <p:tag name="RUNTIME_ID" val="85dcdc83-010f-41ae-a9c9-ddd4d288392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Qt+DZPfBhLsdD1H+qO95wEAAAAAAADAAAAAAADAAAAAwADAAIA////////BQAAAAMAEAALLrjjcQR51Eqmax2B5RYr+AQAAAABAAMAAAACAAMAAAAEAAMAAAAAAP///////wQAAQD///////8FAAAABAAQAAuHhbR6+7AFRp1eOXzWeqKK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FC34Nk98GEux0PUf6o73nAREYXRhAAUAAAAAAk5hbWUADQAAAExpbmtEYXRhTGlzdAAQVmVyc2lvbgABAAAACUxhc3RXcml0ZQBf+RmBjQEAAAABAP////9hAGEAAAAFX2lkABAAAAAELrjjcQR51Eqmax2B5RYr+AREYXRhAAUAAAAAAk5hbWUADQAAAExpbmtEYXRhTGlzdAAQVmVyc2lvbgAAAAAACUxhc3RXcml0ZQBa+RmBjQEAAAACAP////9wAHAAAAAFX2lkABAAAAAEh4W0evuwBUadXjl81nqiigNEYXRhABYAAAACUGVyc29uYWxJZAABAAAAAAACTmFtZQALAAAAUGVyc29uYWxJZAAQVmVyc2lvbgAAAAAACUxhc3RXcml0ZQB4+RmBj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DAP///////wUAAAAD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UBAwAAAAQA////////DAAGUGVyc29uYWxJZF8wBAAAAAIABQAAAAIABQAAAAEABQAAAAMA////////BQAAAAA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428647796834371"/>
  <p:tag name="EMPOWERCHARTSPROPERTIES_B_LENGTH" val="24576"/>
  <p:tag name="DOWN_MIGRATION_INITIAL_LAYOUT_REQUIRED" val="9.2.99"/>
  <p:tag name="RUNTIME_ID" val="b17d0e03-5d51-4c54-8d22-938ea1bca7b1"/>
  <p:tag name="MIO_EKGUID" val="accaa4ca-994f-4f69-bc6c-52409d41e23c"/>
  <p:tag name="MIO_GUID" val="1e5ed62a-78c6-4332-9cc9-2f17ec164e77"/>
  <p:tag name="MIO_UPDATE" val="True"/>
  <p:tag name="MIO_VERSION" val="07.02.2024 01:12:30"/>
  <p:tag name="MIO_DBID" val="B8FCB12D-AF03-49EB-9F79-BB019BE99E1E"/>
  <p:tag name="MIO_LASTDOWNLOADED" val="29.05.2024 11:30:48.796"/>
  <p:tag name="MIO_OBJECTNAME" val="Background Scribble Full page gradient Sky Blue"/>
  <p:tag name="MIO_CONTENTTAG" val="hUIvuUwUGEu/rsD/Iz3gyA=="/>
  <p:tag name="MIO_LASTEDITORNAME" val="Tiff DEMO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150ae2e-be1a-430a-8215-0095f97cbd50"/>
  <p:tag name="MIO_EKGUID" val="5eeddc34-44a1-494f-ae1d-df0ff685bf7b"/>
  <p:tag name="MIO_UPDATE" val="True"/>
  <p:tag name="MIO_VERSION" val="23.06.2025 10:33:18"/>
  <p:tag name="MIO_DBID" val="b8fcb12d-af03-49eb-9f79-bb019be99e1e"/>
  <p:tag name="MIO_LASTDOWNLOADED" val="19.08.2025 11:07:06"/>
  <p:tag name="MIO_OBJECTNAME" val="Email us on info@empower.express"/>
  <p:tag name="MIO_LASTEDITORNAME" val="Georgina DEMO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False"/>
  <p:tag name="MIO_FALLBACK_LAYOUT" val="14"/>
  <p:tag name="MIO_EKGUID" val="5e582455-eb90-4e8e-ac43-43a20fda9484"/>
  <p:tag name="MIO_DBID" val="B8FCB12D-AF03-49EB-9F79-BB019BE99E1E"/>
  <p:tag name="MIO_OBJECTNAME" val="empower"/>
  <p:tag name="MIO_NUMBER_OF_VALID_LAYOUTS" val="60"/>
  <p:tag name="MIO_VERSION" val="06.01.2025 11:52:01"/>
  <p:tag name="MIO_LASTDOWNLOADED" val="02.06.2025 12:17:49.927"/>
  <p:tag name="MIO_CONTENTTAG" val="/BIvkJkLXkGr7KNitHAZZQ=="/>
  <p:tag name="MIO_CDID" val="7e112968-5c67-4980-b6c7-7641b443215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f7cf522-c17a-4301-b0c8-c72024394d0c"/>
  <p:tag name="MIO_CONTENTTAG" val="v7gRMHQXOEGNqAgRrRWjyA=="/>
  <p:tag name="MIO_EKGUID" val="0b2cb02b-59aa-400d-92b5-425f5e6c7692"/>
  <p:tag name="MIO_UPDATE" val="True"/>
  <p:tag name="MIO_VERSION" val="04.08.2025 09:25:23"/>
  <p:tag name="MIO_DBID" val="b8fcb12d-af03-49eb-9f79-bb019be99e1e"/>
  <p:tag name="MIO_LASTDOWNLOADED" val="19.08.2025 11:07:07"/>
  <p:tag name="MIO_OBJECTNAME" val="Next steps for learning"/>
  <p:tag name="MIO_LASTEDITORNAME" val="Georgina DEMO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60998ce-061f-47b3-a217-ad52c1e3d70a"/>
  <p:tag name="MIO_EKGUID" val="2a1c7790-06c8-4ecb-b5ca-42fddc269268"/>
  <p:tag name="MIO_UPDATE" val="True"/>
  <p:tag name="MIO_VERSION" val="13.06.2024 15:11:25"/>
  <p:tag name="MIO_DBID" val="B8FCB12D-AF03-49EB-9F79-BB019BE99E1E"/>
  <p:tag name="MIO_LASTDOWNLOADED" val="17.06.2025 18:49:44.420"/>
  <p:tag name="MIO_OBJECTNAME" val="Post-it Yellow"/>
  <p:tag name="MIO_CONTENTTAG" val="ybTnnD6pTEmJdRKlyCK/Eg=="/>
  <p:tag name="MIO_LASTEDITORNAME" val="Georgina DEMO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05a3ded-65fd-41ec-b246-849733dc3375"/>
  <p:tag name="MIO_EKGUID" val="3b8db9bc-ee08-447a-9890-e66096f0c476"/>
  <p:tag name="MIO_UPDATE" val="True"/>
  <p:tag name="MIO_VERSION" val="23.06.2025 10:33:18"/>
  <p:tag name="MIO_DBID" val="b8fcb12d-af03-49eb-9f79-bb019be99e1e"/>
  <p:tag name="MIO_LASTDOWNLOADED" val="19.08.2025 11:07:07"/>
  <p:tag name="MIO_OBJECTNAME" val="This slide is to test the design check tool"/>
  <p:tag name="MIO_LASTEDITORNAME" val="Georgina DEMO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6a3364b-6ec0-4d71-a5f2-907547e43e17"/>
  <p:tag name="MIO_EKGUID" val="fee61495-3914-4066-ae0d-cd41f2784834"/>
  <p:tag name="MIO_UPDATE" val="True"/>
  <p:tag name="MIO_VERSION" val="13.06.2024 12:32:24"/>
  <p:tag name="MIO_DBID" val="B8FCB12D-AF03-49EB-9F79-BB019BE99E1E"/>
  <p:tag name="MIO_LASTDOWNLOADED" val="09.06.2025 13:55:34.125"/>
  <p:tag name="MIO_OBJECTNAME" val="Key Message Arrow"/>
  <p:tag name="MIO_CONTENTTAG" val="XmaLaih3eE2jYGYkzgSsng=="/>
  <p:tag name="MIO_LASTEDITORNAME" val="Georgina DEMO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6a3364b-6ec0-4d71-a5f2-907547e43e17"/>
  <p:tag name="MIO_EKGUID" val="fee61495-3914-4066-ae0d-cd41f2784834"/>
  <p:tag name="MIO_UPDATE" val="True"/>
  <p:tag name="MIO_VERSION" val="13.06.2024 12:32:24"/>
  <p:tag name="MIO_DBID" val="B8FCB12D-AF03-49EB-9F79-BB019BE99E1E"/>
  <p:tag name="MIO_LASTDOWNLOADED" val="09.06.2025 13:55:34.125"/>
  <p:tag name="MIO_OBJECTNAME" val="Key Message Arrow"/>
  <p:tag name="MIO_CONTENTTAG" val="XmaLaih3eE2jYGYkzgSsng=="/>
  <p:tag name="MIO_LASTEDITORNAME" val="Georgina DEMO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6a3364b-6ec0-4d71-a5f2-907547e43e17"/>
  <p:tag name="MIO_EKGUID" val="fee61495-3914-4066-ae0d-cd41f2784834"/>
  <p:tag name="MIO_UPDATE" val="True"/>
  <p:tag name="MIO_VERSION" val="13.06.2024 12:32:24"/>
  <p:tag name="MIO_DBID" val="B8FCB12D-AF03-49EB-9F79-BB019BE99E1E"/>
  <p:tag name="MIO_LASTDOWNLOADED" val="09.06.2025 13:55:34.125"/>
  <p:tag name="MIO_OBJECTNAME" val="Key Message Arrow"/>
  <p:tag name="MIO_CONTENTTAG" val="XmaLaih3eE2jYGYkzgSsng=="/>
  <p:tag name="MIO_LASTEDITORNAME" val="Georgina DEMO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6a3364b-6ec0-4d71-a5f2-907547e43e17"/>
  <p:tag name="MIO_EKGUID" val="fee61495-3914-4066-ae0d-cd41f2784834"/>
  <p:tag name="MIO_UPDATE" val="True"/>
  <p:tag name="MIO_VERSION" val="13.06.2024 12:32:24"/>
  <p:tag name="MIO_DBID" val="B8FCB12D-AF03-49EB-9F79-BB019BE99E1E"/>
  <p:tag name="MIO_LASTDOWNLOADED" val="09.06.2025 13:55:34.125"/>
  <p:tag name="MIO_OBJECTNAME" val="Key Message Arrow"/>
  <p:tag name="MIO_CONTENTTAG" val="XmaLaih3eE2jYGYkzgSsng=="/>
  <p:tag name="MIO_LASTEDITORNAME" val="Georgina DEMO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96d6777-c948-484e-996c-0022f8f8cad9"/>
  <p:tag name="MIO_EKGUID" val="3a0f93c0-a4b0-4b2d-adc2-c353a0d38756"/>
  <p:tag name="MIO_UPDATE" val="True"/>
  <p:tag name="MIO_VERSION" val="23.06.2025 10:33:18"/>
  <p:tag name="MIO_DBID" val="b8fcb12d-af03-49eb-9f79-bb019be99e1e"/>
  <p:tag name="MIO_LASTDOWNLOADED" val="19.08.2025 11:07:07"/>
  <p:tag name="MIO_OBJECTNAME" val="This is a slide to test out ‘Apply formats’"/>
  <p:tag name="MIO_LASTEDITORNAME" val="Georgina DEMO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54fe37f-e726-483f-bdc8-8a6ab1a7e460"/>
  <p:tag name="RUNTIME_ID" val="93f22e8c-75a7-4e95-9c49-289486302ff2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IBAQEBAQEBAQEBAQEBAQMAAAAAAAAAAwAAAAMAAAAA/////wUAngsAAAAAAAAAAAAAIAD///////////////8AAAD///////////////8DAAAAAgD///////8DAAAAAgD///////8DAAAAAwD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wqZxKjwqJdAlS+33jztZ1gEAAAAAAADAAAAAAADAAAAAwADAAAAAAADAAAAAwADAAgA////////BQAAAAMAEAALSwZbrkM5LkOGI5sw6Y77oQQAAAABAAMAAAACAAMAAAAEAAMAAAACAAMAAAAEAAMAAAAAAAMAAAAEAAMAAAAAAP///////wMAAAAAAP///////wMAAAAAAP///////wMAAAAAAP///////wMAAAAAAP///////wQAAwD///////8FAAAABAAQAAtYaZDCJwP0QIBa5/NM7P1gBAAAAAIAAwAAAAMAAwAAAAEAAwAAAAMA////////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CpnEqPCol0CVL7fePO1nWAREYXRhAAUAAAAAAk5hbWUADQAAAExpbmtEYXRhTGlzdAAQVmVyc2lvbgABAAAACUxhc3RXcml0ZQCR54YRkAEAAAABAP////9hAGEAAAAFX2lkABAAAAAESwZbrkM5LkOGI5sw6Y77oQREYXRhAAUAAAAAAk5hbWUADQAAAExpbmtEYXRhTGlzdAAQVmVyc2lvbgAAAAAACUxhc3RXcml0ZQCI54YRkAEAAAACAP////9wAHAAAAAFX2lkABAAAAAEWGmQwicD9ECAWufzTOz9YANEYXRhABYAAAACUGVyc29uYWxJZAABAAAAAAACTmFtZQALAAAAUGVyc29uYWxJZAAQVmVyc2lvbgAAAAAACUxhc3RXcml0ZQC7DJ7Xi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D///////8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38777722085163"/>
  <p:tag name="EMPOWERCHARTSPROPERTIES_B_LENGTH" val="24576"/>
  <p:tag name="DOWN_MIGRATION_INITIAL_LAYOUT_REQUIRED" val="9.2.99"/>
  <p:tag name="MIO_EKGUID" val="0a5f4d0e-927c-4d1f-91c5-9df45d4f4484"/>
  <p:tag name="MIO_UPDATE" val="True"/>
  <p:tag name="MIO_VERSION" val="21.06.2024 13:11:00"/>
  <p:tag name="MIO_DBID" val="B8FCB12D-AF03-49EB-9F79-BB019BE99E1E"/>
  <p:tag name="MIO_LASTDOWNLOADED" val="23.06.2025 11:00:05.023"/>
  <p:tag name="MIO_OBJECTNAME" val="_Footnotes - full width"/>
  <p:tag name="MIO_CONTENTTAG" val="TndV2LRN10qUHt3hv31FSQ=="/>
  <p:tag name="MIO_LASTEDITORNAME" val="Georgina DEMO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93b4a9a-95d0-4b2c-ad9b-b8226bb3cf9c"/>
  <p:tag name="MIO_GUID" val="d2465ec8-beb2-4425-af48-f0c9ed3f918b"/>
  <p:tag name="MIO_UPDATE" val="True"/>
  <p:tag name="MIO_VERSION" val="27.05.2024 16:50:16"/>
  <p:tag name="MIO_DBID" val="B8FCB12D-AF03-49EB-9F79-BB019BE99E1E"/>
  <p:tag name="MIO_LASTDOWNLOADED" val="23.06.2025 11:29:28.764"/>
  <p:tag name="MIO_OBJECTNAME" val="_Subheading"/>
  <p:tag name="MIO_CONTENTTAG" val="S23kl13Yp0mzi9a4WjVfZA=="/>
  <p:tag name="MIO_LASTEDITORNAME" val="Georgina DEMO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TEXTELEMENT" val="MIO_FOOTNOTE"/>
  <p:tag name="MIO_GUID" val="058c280e-5383-4d49-941a-32b5000483ea"/>
  <p:tag name="MIO_EK" val="3965"/>
  <p:tag name="MIO_SKIP_CDCHECK" val="True"/>
  <p:tag name="MIO_EKGUID" val="66631306-e1f1-4de6-86ed-78ed67ba2555"/>
  <p:tag name="MIO_UPDATE" val="True"/>
  <p:tag name="MIO_VERSION" val="06.05.2020 20:08:27"/>
  <p:tag name="MIO_DBID" val="0F45B44C-9BC7-4D85-81C4-7155EE70A7B9"/>
  <p:tag name="MIO_LASTDOWNLOADED" val="06.09.2022 11:56:12.398"/>
  <p:tag name="MIO_OBJECTNAME" val="1 Footnote"/>
  <p:tag name="MIO_LASTEDITORNAME" val="Stephan Kuhner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TEXTELEMENT" val="MIO_FOOTNOTE"/>
  <p:tag name="MIO_GUID" val="058c280e-5383-4d49-941a-32b5000483ea"/>
  <p:tag name="MIO_EK" val="3965"/>
  <p:tag name="MIO_SKIP_CDCHECK" val="True"/>
  <p:tag name="MIO_EKGUID" val="66631306-e1f1-4de6-86ed-78ed67ba2555"/>
  <p:tag name="MIO_UPDATE" val="True"/>
  <p:tag name="MIO_VERSION" val="06.05.2020 20:08:27"/>
  <p:tag name="MIO_DBID" val="0F45B44C-9BC7-4D85-81C4-7155EE70A7B9"/>
  <p:tag name="MIO_LASTDOWNLOADED" val="06.09.2022 11:56:12.398"/>
  <p:tag name="MIO_OBJECTNAME" val="1 Footnote"/>
  <p:tag name="MIO_LASTEDITORNAME" val="Stephan Kuhner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AgD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n4YVTvKuVNmPtrwTtYIDUEAAAAAAADAAAAAAADAAAABAADAAAAAAADAAAABAADAAEA////////BQAAAAMAEAALkJk05d+pqUeLf42WK5s4YAQAAAABAAMAAAAEAAMAAAABAAQAAwD///////8FAAAABAAQAAtycYSRm0uuR4Xq3zyYuIdEBAAAAAIAAwAAAAIAAwAAAAMAAwAAAAI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fhhVO8q5U2Y+2vBO1ggNQREYXRhAAUAAAAAAk5hbWUADQAAAExpbmtEYXRhTGlzdAAQVmVyc2lvbgABAAAACUxhc3RXcml0ZQCqwYWAjwEAAAABAP////9hAGEAAAAFX2lkABAAAAAEkJk05d+pqUeLf42WK5s4YAREYXRhAAUAAAAAAk5hbWUADQAAAExpbmtEYXRhTGlzdAAQVmVyc2lvbgAAAAAACUxhc3RXcml0ZQCbwYWAjwEAAAACAP////9wAHAAAAAFX2lkABAAAAAEcnGEkZtLrkeF6t88mLiHRANEYXRhABYAAAACUGVyc29uYWxJZAABAAAAAAACTmFtZQALAAAAUGVyc29uYWxJZAAQVmVyc2lvbgAAAAAACUxhc3RXcml0ZQDrwYWA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MBAwAAAAQA////////DAAGUGVyc29uYWxJZF8wBAAAAAIABQAAAAIABQAAAAEABQAAAAI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14450007044896"/>
  <p:tag name="EMPOWERCHARTSPROPERTIES_B_LENGTH" val="24576"/>
  <p:tag name="DOWN_MIGRATION_INITIAL_LAYOUT_REQUIRED" val="9.2.99"/>
  <p:tag name="RUNTIME_ID" val="cae05ed3-ef2e-4105-89ac-fd5b5a6b00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77rQxMX5BFOk4DkusvKymUEAAAAAAADAAAAAAADAAAAAwADAAIA////////BQAAAAMAEAAL5F7zVjS+8UaMsKQSLeOJVQQAAAABAAMAAAACAAMAAAAEAAMAAAAAAP///////wQAAQD///////8FAAAABAAQAAtHXxrn/IYbRI7t+vnX7F/2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utDExfkEU6TgOS6y8rKZQREYXRhAAUAAAAAAk5hbWUADQAAAExpbmtEYXRhTGlzdAAQVmVyc2lvbgABAAAACUxhc3RXcml0ZQBzP+8+jwEAAAABAP////9hAGEAAAAFX2lkABAAAAAE5F7zVjS+8UaMsKQSLeOJVQREYXRhAAUAAAAAAk5hbWUADQAAAExpbmtEYXRhTGlzdAAQVmVyc2lvbgAAAAAACUxhc3RXcml0ZQBwP+8+jwEAAAACAP////9wAHAAAAAFX2lkABAAAAAER18a5/yGG0SO7fr51+xf9gNEYXRhABYAAAACUGVyc29uYWxJZAABAAAAAAACTmFtZQALAAAAUGVyc29uYWxJZAAQVmVyc2lvbgAAAAAACUxhc3RXcml0ZQCLP+8+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03446178895955"/>
  <p:tag name="EMPOWERCHARTSPROPERTIES_B_LENGTH" val="24576"/>
  <p:tag name="DOWN_MIGRATION_INITIAL_LAYOUT_REQUIRED" val="9.2.99"/>
  <p:tag name="RUNTIME_ID" val="f06e3359-8379-47b6-9c22-633911c3113f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/////wUA8gsAAAAAAAAAAAAAIAD///////////////8AAAD///////////////8DAAAAAgD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6p8BxkJPNROm++MrWxG2x0EAAAAAAADAAAAAAADAAAAAwADAAAAAAADAAAABAADAAEA////////BQAAAAMAEAALbb8qnUzDUUq6DAPDe4SgQgQAAAABAAMAAAACAAMAAAAEAAQAAwD///////8FAAAABAAQAAsqSRf6XAuLRIYsHm4wm6XPBAAAAAIAAwAAAAMAAwAAAAEAAwAAAAI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qnwHGQk81E6b74ytbEbbHQREYXRhAAUAAAAAAk5hbWUADQAAAExpbmtEYXRhTGlzdAAQVmVyc2lvbgAAAAAACUxhc3RXcml0ZQBJx/qfjwEAAAABAP////9hAGEAAAAFX2lkABAAAAAEbb8qnUzDUUq6DAPDe4SgQgREYXRhAAUAAAAAAk5hbWUADQAAAExpbmtEYXRhTGlzdAAQVmVyc2lvbgABAAAACUxhc3RXcml0ZQBKx/qfjwEAAAACAP////9wAHAAAAAFX2lkABAAAAAEKkkX+lwLi0SGLB5uMJulzwNEYXRhABYAAAACUGVyc29uYWxJZAABAAAAAAACTmFtZQALAAAAUGVyc29uYWxJZAAQVmVyc2lvbgAAAAAACUxhc3RXcml0ZQBnx/qf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19727635159092"/>
  <p:tag name="EMPOWERCHARTSPROPERTIES_B_LENGTH" val="24576"/>
  <p:tag name="DOWN_MIGRATION_INITIAL_LAYOUT_REQUIRED" val="9.2.99"/>
  <p:tag name="RUNTIME_ID" val="3238f02d-c838-4d92-b09b-2f7e20bf208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/////wUA/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+s4AicNM31JqaRUdX+geQUEAAAAAAADAAAAAAADAAAABAADAAAAAAD///////8DAAAAAAD///////8DAAEA////////BQAAAAMAEAAL2v5hrC1Bf0O03o2AQ7UVUwQAAAABAAMAAAAEAAMAAAABAAQAAQD///////8FAAAABAAQAAtSH4tqPAbfT7DVJ42ZjUuG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6zgCJw0zfUmppFR1f6B5BQREYXRhAAUAAAAAAk5hbWUADQAAAExpbmtEYXRhTGlzdAAQVmVyc2lvbgABAAAACUxhc3RXcml0ZQC2bOHDjwEAAAABAP////9hAGEAAAAFX2lkABAAAAAE2v5hrC1Bf0O03o2AQ7UVUwREYXRhAAUAAAAAAk5hbWUADQAAAExpbmtEYXRhTGlzdAAQVmVyc2lvbgAAAAAACUxhc3RXcml0ZQCUbOHDjwEAAAACAP////9wAHAAAAAFX2lkABAAAAAEUh+LajwG30+w1SeNmY1LhgNEYXRhABYAAAACUGVyc29uYWxJZAABAAAAAAACTmFtZQALAAAAUGVyc29uYWxJZAAQVmVyc2lvbgAAAAAACUxhc3RXcml0ZQDNbOHD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DAP///////wUAAAACAP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AFAAAABAADAAEBAwAAAAMA////////DgAGTGlua0RhdGFMaXN0XzAEAAAAAQAFAAAAAAAFAAAAAgAEAAQBAwAAAAQA////////DAAGUGVyc29uYWxJZF8wBAAAAAIABQAAAAIABQAAAAEABQAAAAIA////////BQAAAAI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5750816958870"/>
  <p:tag name="EMPOWERCHARTSPROPERTIES_B_LENGTH" val="24576"/>
  <p:tag name="DOWN_MIGRATION_INITIAL_LAYOUT_REQUIRED" val="9.2.99"/>
  <p:tag name="RUNTIME_ID" val="85dcdc83-010f-41ae-a9c9-ddd4d288392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5ba3e29-3e69-460f-adc3-59bbb9830f62"/>
  <p:tag name="MIO_GUID" val="2542927e-b0ca-428c-91a8-fa3fc546aa23"/>
  <p:tag name="MIO_UPDATE" val="True"/>
  <p:tag name="MIO_VERSION" val="14.08.2022 19:59:51"/>
  <p:tag name="MIO_DBID" val="0F45B44C-9BC7-4D85-81C4-7155EE70A7B9"/>
  <p:tag name="MIO_LASTDOWNLOADED" val="21.08.2022 23:47:20.540"/>
  <p:tag name="MIO_OBJECTNAME" val="Picture 6"/>
  <p:tag name="MIO_LASTEDITORNAME" val="Stephan Kuhner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EMBED_FONT" val="False"/>
  <p:tag name="MIO_SKIPVERSION" val="01.01.0001 00:00:00"/>
  <p:tag name="MIO_EKGUID" val="5e582455-eb90-4e8e-ac43-43a20fda9484"/>
  <p:tag name="MIO_DBID" val="B8FCB12D-AF03-49EB-9F79-BB019BE99E1E"/>
  <p:tag name="MIO_OBJECTNAME" val="empower Blue 2023"/>
  <p:tag name="MIO_CD_LAYOUT_VALID_AREA" val="False"/>
  <p:tag name="MIO_FALLBACK_LAYOUT" val="14"/>
  <p:tag name="MIO_AVOID_BLANK_LAYOUT" val="False"/>
  <p:tag name="MIO_MATCH_COLOR_SCHEME" val="False"/>
  <p:tag name="MIO_SHOW_DATE" val="False"/>
  <p:tag name="MIO_SHOW_FOOTER" val="False"/>
  <p:tag name="MIO_SHOW_PAGENUMBER" val="False"/>
  <p:tag name="MIO_NUMBER_OF_VALID_LAYOUTS" val="100"/>
  <p:tag name="MIO_VERSION" val="22.05.2024 11:35:55"/>
  <p:tag name="MIO_LASTDOWNLOADED" val="22.05.2024 12:38:35.043"/>
  <p:tag name="MIO_CONTENTTAG" val="Ul7saRY/Hk+gDi560B268g=="/>
  <p:tag name="MIO_CDID" val="7e112968-5c67-4980-b6c7-7641b443215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EMBED_FONT" val="False"/>
  <p:tag name="MIO_SKIPVERSION" val="01.01.0001 00:00:00"/>
  <p:tag name="MIO_EKGUID" val="5e582455-eb90-4e8e-ac43-43a20fda9484"/>
  <p:tag name="MIO_DBID" val="B8FCB12D-AF03-49EB-9F79-BB019BE99E1E"/>
  <p:tag name="MIO_OBJECTNAME" val="empower Blue 2023"/>
  <p:tag name="MIO_CD_LAYOUT_VALID_AREA" val="False"/>
  <p:tag name="MIO_FALLBACK_LAYOUT" val="14"/>
  <p:tag name="MIO_AVOID_BLANK_LAYOUT" val="False"/>
  <p:tag name="MIO_MATCH_COLOR_SCHEME" val="False"/>
  <p:tag name="MIO_SHOW_DATE" val="False"/>
  <p:tag name="MIO_SHOW_FOOTER" val="False"/>
  <p:tag name="MIO_SHOW_PAGENUMBER" val="False"/>
  <p:tag name="MIO_NUMBER_OF_VALID_LAYOUTS" val="100"/>
  <p:tag name="MIO_VERSION" val="22.05.2024 11:35:55"/>
  <p:tag name="MIO_LASTDOWNLOADED" val="22.05.2024 12:38:35.043"/>
  <p:tag name="MIO_CONTENTTAG" val="Ul7saRY/Hk+gDi560B268g=="/>
  <p:tag name="MIO_CDID" val="7e112968-5c67-4980-b6c7-7641b443215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False"/>
  <p:tag name="MIO_FALLBACK_LAYOUT" val="14"/>
  <p:tag name="MIO_EKGUID" val="5e582455-eb90-4e8e-ac43-43a20fda9484"/>
  <p:tag name="MIO_DBID" val="B8FCB12D-AF03-49EB-9F79-BB019BE99E1E"/>
  <p:tag name="MIO_OBJECTNAME" val="empower"/>
  <p:tag name="MIO_NUMBER_OF_VALID_LAYOUTS" val="60"/>
  <p:tag name="MIO_VERSION" val="06.01.2025 11:52:01"/>
  <p:tag name="MIO_LASTDOWNLOADED" val="24.06.2025 12:54:05.434"/>
  <p:tag name="MIO_CONTENTTAG" val="/BIvkJkLXkGr7KNitHAZZQ=="/>
  <p:tag name="MIO_CDID" val="7e112968-5c67-4980-b6c7-7641b443215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TEXTELEMENT" val="MIO_FOOTNOTE"/>
  <p:tag name="MIO_GUID" val="058c280e-5383-4d49-941a-32b5000483ea"/>
  <p:tag name="MIO_EK" val="3965"/>
  <p:tag name="MIO_SKIP_CDCHECK" val="True"/>
  <p:tag name="MIO_EKGUID" val="66631306-e1f1-4de6-86ed-78ed67ba2555"/>
  <p:tag name="MIO_UPDATE" val="True"/>
  <p:tag name="MIO_VERSION" val="06.05.2020 20:08:27"/>
  <p:tag name="MIO_DBID" val="0F45B44C-9BC7-4D85-81C4-7155EE70A7B9"/>
  <p:tag name="MIO_LASTDOWNLOADED" val="06.09.2022 11:56:12.398"/>
  <p:tag name="MIO_OBJECTNAME" val="1 Footnote"/>
  <p:tag name="MIO_LASTEDITORNAME" val="Stephan Kuhner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TEXTELEMENT" val="MIO_FOOTNOTE"/>
  <p:tag name="MIO_GUID" val="058c280e-5383-4d49-941a-32b5000483ea"/>
  <p:tag name="MIO_EK" val="3965"/>
  <p:tag name="MIO_SKIP_CDCHECK" val="True"/>
  <p:tag name="MIO_EKGUID" val="66631306-e1f1-4de6-86ed-78ed67ba2555"/>
  <p:tag name="MIO_UPDATE" val="True"/>
  <p:tag name="MIO_VERSION" val="06.05.2020 20:08:27"/>
  <p:tag name="MIO_DBID" val="0F45B44C-9BC7-4D85-81C4-7155EE70A7B9"/>
  <p:tag name="MIO_LASTDOWNLOADED" val="06.09.2022 11:56:12.398"/>
  <p:tag name="MIO_OBJECTNAME" val="1 Footnote"/>
  <p:tag name="MIO_LASTEDITORNAME" val="Stephan Kuhner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AgD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n4YVTvKuVNmPtrwTtYIDUEAAAAAAADAAAAAAADAAAABAADAAAAAAADAAAABAADAAEA////////BQAAAAMAEAALkJk05d+pqUeLf42WK5s4YAQAAAABAAMAAAAEAAMAAAABAAQAAwD///////8FAAAABAAQAAtycYSRm0uuR4Xq3zyYuIdEBAAAAAIAAwAAAAIAAwAAAAMAAwAAAAI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fhhVO8q5U2Y+2vBO1ggNQREYXRhAAUAAAAAAk5hbWUADQAAAExpbmtEYXRhTGlzdAAQVmVyc2lvbgABAAAACUxhc3RXcml0ZQCqwYWAjwEAAAABAP////9hAGEAAAAFX2lkABAAAAAEkJk05d+pqUeLf42WK5s4YAREYXRhAAUAAAAAAk5hbWUADQAAAExpbmtEYXRhTGlzdAAQVmVyc2lvbgAAAAAACUxhc3RXcml0ZQCbwYWAjwEAAAACAP////9wAHAAAAAFX2lkABAAAAAEcnGEkZtLrkeF6t88mLiHRANEYXRhABYAAAACUGVyc29uYWxJZAABAAAAAAACTmFtZQALAAAAUGVyc29uYWxJZAAQVmVyc2lvbgAAAAAACUxhc3RXcml0ZQDrwYWA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MBAwAAAAQA////////DAAGUGVyc29uYWxJZF8wBAAAAAIABQAAAAIABQAAAAEABQAAAAI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14450007044896"/>
  <p:tag name="EMPOWERCHARTSPROPERTIES_B_LENGTH" val="24576"/>
  <p:tag name="DOWN_MIGRATION_INITIAL_LAYOUT_REQUIRED" val="9.2.99"/>
  <p:tag name="RUNTIME_ID" val="cae05ed3-ef2e-4105-89ac-fd5b5a6b003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77rQxMX5BFOk4DkusvKymUEAAAAAAADAAAAAAADAAAAAwADAAIA////////BQAAAAMAEAAL5F7zVjS+8UaMsKQSLeOJVQQAAAABAAMAAAACAAMAAAAEAAMAAAAAAP///////wQAAQD///////8FAAAABAAQAAtHXxrn/IYbRI7t+vnX7F/2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utDExfkEU6TgOS6y8rKZQREYXRhAAUAAAAAAk5hbWUADQAAAExpbmtEYXRhTGlzdAAQVmVyc2lvbgABAAAACUxhc3RXcml0ZQBzP+8+jwEAAAABAP////9hAGEAAAAFX2lkABAAAAAE5F7zVjS+8UaMsKQSLeOJVQREYXRhAAUAAAAAAk5hbWUADQAAAExpbmtEYXRhTGlzdAAQVmVyc2lvbgAAAAAACUxhc3RXcml0ZQBwP+8+jwEAAAACAP////9wAHAAAAAFX2lkABAAAAAER18a5/yGG0SO7fr51+xf9gNEYXRhABYAAAACUGVyc29uYWxJZAABAAAAAAACTmFtZQALAAAAUGVyc29uYWxJZAAQVmVyc2lvbgAAAAAACUxhc3RXcml0ZQCLP+8+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03446178895955"/>
  <p:tag name="EMPOWERCHARTSPROPERTIES_B_LENGTH" val="24576"/>
  <p:tag name="DOWN_MIGRATION_INITIAL_LAYOUT_REQUIRED" val="9.2.99"/>
  <p:tag name="RUNTIME_ID" val="f06e3359-8379-47b6-9c22-633911c3113f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/////wUA8gsAAAAAAAAAAAAAIAD///////////////8AAAD///////////////8DAAAAAgD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6p8BxkJPNROm++MrWxG2x0EAAAAAAADAAAAAAADAAAAAwADAAAAAAADAAAABAADAAEA////////BQAAAAMAEAALbb8qnUzDUUq6DAPDe4SgQgQAAAABAAMAAAACAAMAAAAEAAQAAwD///////8FAAAABAAQAAsqSRf6XAuLRIYsHm4wm6XPBAAAAAIAAwAAAAMAAwAAAAEAAwAAAAI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qnwHGQk81E6b74ytbEbbHQREYXRhAAUAAAAAAk5hbWUADQAAAExpbmtEYXRhTGlzdAAQVmVyc2lvbgAAAAAACUxhc3RXcml0ZQBJx/qfjwEAAAABAP////9hAGEAAAAFX2lkABAAAAAEbb8qnUzDUUq6DAPDe4SgQgREYXRhAAUAAAAAAk5hbWUADQAAAExpbmtEYXRhTGlzdAAQVmVyc2lvbgABAAAACUxhc3RXcml0ZQBKx/qfjwEAAAACAP////9wAHAAAAAFX2lkABAAAAAEKkkX+lwLi0SGLB5uMJulzwNEYXRhABYAAAACUGVyc29uYWxJZAABAAAAAAACTmFtZQALAAAAUGVyc29uYWxJZAAQVmVyc2lvbgAAAAAACUxhc3RXcml0ZQBnx/qf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19727635159092"/>
  <p:tag name="EMPOWERCHARTSPROPERTIES_B_LENGTH" val="24576"/>
  <p:tag name="DOWN_MIGRATION_INITIAL_LAYOUT_REQUIRED" val="9.2.99"/>
  <p:tag name="RUNTIME_ID" val="3238f02d-c838-4d92-b09b-2f7e20bf208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/////wUA/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+s4AicNM31JqaRUdX+geQUEAAAAAAADAAAAAAADAAAABAADAAAAAAD///////8DAAAAAAD///////8DAAEA////////BQAAAAMAEAAL2v5hrC1Bf0O03o2AQ7UVUwQAAAABAAMAAAAEAAMAAAABAAQAAQD///////8FAAAABAAQAAtSH4tqPAbfT7DVJ42ZjUuG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6zgCJw0zfUmppFR1f6B5BQREYXRhAAUAAAAAAk5hbWUADQAAAExpbmtEYXRhTGlzdAAQVmVyc2lvbgABAAAACUxhc3RXcml0ZQC2bOHDjwEAAAABAP////9hAGEAAAAFX2lkABAAAAAE2v5hrC1Bf0O03o2AQ7UVUwREYXRhAAUAAAAAAk5hbWUADQAAAExpbmtEYXRhTGlzdAAQVmVyc2lvbgAAAAAACUxhc3RXcml0ZQCUbOHDjwEAAAACAP////9wAHAAAAAFX2lkABAAAAAEUh+LajwG30+w1SeNmY1LhgNEYXRhABYAAAACUGVyc29uYWxJZAABAAAAAAACTmFtZQALAAAAUGVyc29uYWxJZAAQVmVyc2lvbgAAAAAACUxhc3RXcml0ZQDNbOHD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DAP///////wUAAAACAP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AFAAAABAADAAEBAwAAAAMA////////DgAGTGlua0RhdGFMaXN0XzAEAAAAAQAFAAAAAAAFAAAAAgAEAAQBAwAAAAQA////////DAAGUGVyc29uYWxJZF8wBAAAAAIABQAAAAIABQAAAAEABQAAAAIA////////BQAAAAI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5750816958870"/>
  <p:tag name="EMPOWERCHARTSPROPERTIES_B_LENGTH" val="24576"/>
  <p:tag name="DOWN_MIGRATION_INITIAL_LAYOUT_REQUIRED" val="9.2.99"/>
  <p:tag name="RUNTIME_ID" val="85dcdc83-010f-41ae-a9c9-ddd4d288392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5ba3e29-3e69-460f-adc3-59bbb9830f62"/>
  <p:tag name="MIO_GUID" val="2542927e-b0ca-428c-91a8-fa3fc546aa23"/>
  <p:tag name="MIO_UPDATE" val="True"/>
  <p:tag name="MIO_VERSION" val="14.08.2022 19:59:51"/>
  <p:tag name="MIO_DBID" val="0F45B44C-9BC7-4D85-81C4-7155EE70A7B9"/>
  <p:tag name="MIO_LASTDOWNLOADED" val="21.08.2022 23:47:20.540"/>
  <p:tag name="MIO_OBJECTNAME" val="Picture 6"/>
  <p:tag name="MIO_LASTEDITORNAME" val="Stephan Kuhner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6dcf691-e19e-4d94-a4fe-c9261b6862db"/>
  <p:tag name="MIO_CONTENTTAG" val="q9mS8BmK7UWfmlvUT9YeOA=="/>
  <p:tag name="MIO_EKGUID" val="cc8c4263-6b80-48c1-ba48-6250be2af03e"/>
  <p:tag name="MIO_UPDATE" val="True"/>
  <p:tag name="MIO_VERSION" val="23.06.2025 16:04:01"/>
  <p:tag name="MIO_DBID" val="b8fcb12d-af03-49eb-9f79-bb019be99e1e"/>
  <p:tag name="MIO_LASTDOWNLOADED" val="19.08.2025 11:07:02"/>
  <p:tag name="MIO_OBJECTNAME" val="Branding concerns and issues"/>
  <p:tag name="MIO_LASTEDITORNAME" val="Georgina DEM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False"/>
  <p:tag name="MIO_FALLBACK_LAYOUT" val="14"/>
  <p:tag name="MIO_EKGUID" val="5e582455-eb90-4e8e-ac43-43a20fda9484"/>
  <p:tag name="MIO_DBID" val="B8FCB12D-AF03-49EB-9F79-BB019BE99E1E"/>
  <p:tag name="MIO_OBJECTNAME" val="empower"/>
  <p:tag name="MIO_NUMBER_OF_VALID_LAYOUTS" val="60"/>
  <p:tag name="MIO_VERSION" val="06.01.2025 11:52:01"/>
  <p:tag name="MIO_LASTDOWNLOADED" val="09.06.2025 10:34:55.345"/>
  <p:tag name="MIO_CONTENTTAG" val="/BIvkJkLXkGr7KNitHAZZQ=="/>
  <p:tag name="MIO_CDID" val="7e112968-5c67-4980-b6c7-7641b443215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QBAQEBAQEBAQEBAQEBAQMAAAAAAAAAAwAAAAMAAAAA/////wUAqgsAAAAAAAAAAAAAIAD///////////////8AAAD///////////////8DAAAAAgD///////8DAAAAAgD///////8DAAAAAwD///////8DAAAAAw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05P5xdy0JNGiOzIEX3RJF8EAAAAAAADAAAAAAADAAAAAwADAAAAAAADAAAAAwADAAQA////////BQAAAAMAEAALtVHKRiasskS0CVOa1D3tbwQAAAABAAMAAAACAAMAAAAEAAMAAAACAAMAAAAEAAMAAAAAAAMAAAAEAAMAAAAAAAMAAAAEAAQABgD///////8FAAAABAAQAAsE605mya3dTIoaAoChpijKBAAAAAIAAwAAAAMAAwAAAAEAAwAAAAMA////////AwAAAAMA////////AwAAAAM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Tk/nF3LQk0aI7MgRfdEkXwREYXRhAAUAAAAAAk5hbWUADQAAAExpbmtEYXRhTGlzdAAQVmVyc2lvbgABAAAACUxhc3RXcml0ZQDA1QHujwEAAAABAP////9hAGEAAAAFX2lkABAAAAAEtVHKRiasskS0CVOa1D3tbwREYXRhAAUAAAAAAk5hbWUADQAAAExpbmtEYXRhTGlzdAAQVmVyc2lvbgAAAAAACUxhc3RXcml0ZQDA1QHujwEAAAACAP////9wAHAAAAAFX2lkABAAAAAEBOtOZsmt3UyKGgKAoaYoygNEYXRhABYAAAACUGVyc29uYWxJZAABAAAAAAACTmFtZQALAAAAUGVyc29uYWxJZAAQVmVyc2lvbgAAAAAACUxhc3RXcml0ZQDa1QHu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wD///////8DAAQBAwAAAAMA////////DgAGTGlua0RhdGFMaXN0XzAEAAAAAQAFAAAAAAAFAAAAAgAFAAAAAAAFAAAAAgAFAAAAAAD///////8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32818488242583"/>
  <p:tag name="EMPOWERCHARTSPROPERTIES_B_LENGTH" val="24576"/>
  <p:tag name="DOWN_MIGRATION_INITIAL_LAYOUT_REQUIRED" val="9.2.99"/>
  <p:tag name="RUNTIME_ID" val="d87024c1-d05e-405e-82c3-f4f60e201c6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3UXiXaqdpZLuMhtBSKzBAgEAAAAAAADAAAAAAADAAAABAADAAAAAAADAAAAAwADAAAAAAD///////8DAAIA////////BQAAAAMAEAALRnZ42AtWxkGfov81VjCreQQAAAABAAMAAAAEAAMAAAABAAMAAAACAP///////wQAAQD///////8FAAAABAAQAAu4crV9KWb0SpylKJJQdwN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dReJdqp2lku4yG0FIrMECAREYXRhAAUAAAAAAk5hbWUADQAAAExpbmtEYXRhTGlzdAAQVmVyc2lvbgABAAAACUxhc3RXcml0ZQBbwwHujwEAAAABAP////9hAGEAAAAFX2lkABAAAAAERnZ42AtWxkGfov81VjCreQREYXRhAAUAAAAAAk5hbWUADQAAAExpbmtEYXRhTGlzdAAQVmVyc2lvbgAAAAAACUxhc3RXcml0ZQBbwwHujwEAAAACAP////9wAHAAAAAFX2lkABAAAAAEuHK1fSlm9EqcpSiSUHcDawNEYXRhABYAAAACUGVyc29uYWxJZAABAAAAAAACTmFtZQALAAAAUGVyc29uYWxJZAAQVmVyc2lvbgAAAAAACUxhc3RXcml0ZQB7wwHu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wD///////8FAAAAAAD///////8DAAIBAwAAAAMA////////DgAGTGlua0RhdGFMaXN0XzAEAAAAAQAFAAAAAAAFAAAAAg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32818441137821"/>
  <p:tag name="EMPOWERCHARTSPROPERTIES_B_LENGTH" val="24576"/>
  <p:tag name="DOWN_MIGRATION_INITIAL_LAYOUT_REQUIRED" val="9.2.99"/>
  <p:tag name="RUNTIME_ID" val="9a28358c-0cca-4d34-91f9-e6c02ca9fde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0ac1f06-6c45-4853-9db6-81c7ad359a1f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3c4565f-3ab5-4fec-abc5-7bcdb0c3163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wNn0Epqv9tDhCTt9kLx0IkEAAAAAAADAAAABAADAAAAAwADAAIA////////BQAAAAMAEAAL+IHQwQShS0GVHzF7OM1qfQQAAAABAAMAAAACAAMAAAABAAMAAAAEAP///////wQAAgD///////8FAAAABAAQAAtRtPkO8uv1Rb1z6fuoS31R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A2fQSmq/20OEJO32QvHQiQREYXRhAAUAAAAAAk5hbWUADQAAAExpbmtEYXRhTGlzdAAQVmVyc2lvbgAAAAAACUxhc3RXcml0ZQCcQGg1kAEAAAABAP////9hAGEAAAAFX2lkABAAAAAE+IHQwQShS0GVHzF7OM1qfQREYXRhAAUAAAAAAk5hbWUADQAAAExpbmtEYXRhTGlzdAAQVmVyc2lvbgABAAAACUxhc3RXcml0ZQCdQGg1kAEAAAACAP////9wAHAAAAAFX2lkABAAAAAEUbT5DvLr9UW9c+n7qEt9UQNEYXRhABYAAAACUGVyc29uYWxJZAABAAAAAAACTmFtZQALAAAAUGVyc29uYWxJZAAQVmVyc2lvbgAAAAAACUxhc3RXcml0ZQC5QGg1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IBAwAAAAMA////////DgAGTGlua0RhdGFMaXN0XzEEAAAAAQAFAAAAAgAFAAAABAA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44797431878672"/>
  <p:tag name="EMPOWERCHARTSPROPERTIES_B_LENGTH" val="24576"/>
  <p:tag name="DOWN_MIGRATION_INITIAL_LAYOUT_REQUIRED" val="9.2.99"/>
  <p:tag name="RUNTIME_ID" val="3a932d70-e11c-4a01-beec-92590a98918f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d765e53-17ed-45b0-845c-26e9990b39fd"/>
  <p:tag name="MIO_GUID" val="2b5c2dfd-6f22-4313-be80-db1840967699"/>
  <p:tag name="MIO_UPDATE" val="True"/>
  <p:tag name="MIO_VERSION" val="20.06.2024 12:03:43"/>
  <p:tag name="MIO_DBID" val="B8FCB12D-AF03-49EB-9F79-BB019BE99E1E"/>
  <p:tag name="MIO_LASTDOWNLOADED" val="20.06.2024 15:08:38.976"/>
  <p:tag name="MIO_OBJECTNAME" val="Flag - Brand Control"/>
  <p:tag name="MIO_CONTENTTAG" val="KuHOkRTFNEeVSsEN7GiG/g=="/>
  <p:tag name="MIO_LASTEDITORNAME" val="Georgina DEMO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wNn0Epqv9tDhCTt9kLx0IkEAAAAAAADAAAABAADAAAAAwADAAIA////////BQAAAAMAEAAL+IHQwQShS0GVHzF7OM1qfQQAAAABAAMAAAACAAMAAAABAAMAAAAEAP///////wQAAgD///////8FAAAABAAQAAtRtPkO8uv1Rb1z6fuoS31R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A2fQSmq/20OEJO32QvHQiQREYXRhAAUAAAAAAk5hbWUADQAAAExpbmtEYXRhTGlzdAAQVmVyc2lvbgAAAAAACUxhc3RXcml0ZQCcQGg1kAEAAAABAP////9hAGEAAAAFX2lkABAAAAAE+IHQwQShS0GVHzF7OM1qfQREYXRhAAUAAAAAAk5hbWUADQAAAExpbmtEYXRhTGlzdAAQVmVyc2lvbgABAAAACUxhc3RXcml0ZQCdQGg1kAEAAAACAP////9wAHAAAAAFX2lkABAAAAAEUbT5DvLr9UW9c+n7qEt9UQNEYXRhABYAAAACUGVyc29uYWxJZAABAAAAAAACTmFtZQALAAAAUGVyc29uYWxJZAAQVmVyc2lvbgAAAAAACUxhc3RXcml0ZQC5QGg1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IBAwAAAAMA////////DgAGTGlua0RhdGFMaXN0XzEEAAAAAQAFAAAAAgAFAAAABAA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44797431878672"/>
  <p:tag name="EMPOWERCHARTSPROPERTIES_B_LENGTH" val="24576"/>
  <p:tag name="DOWN_MIGRATION_INITIAL_LAYOUT_REQUIRED" val="9.2.99"/>
  <p:tag name="RUNTIME_ID" val="0760471a-21b6-403e-abba-bdfd0621fad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wNn0Epqv9tDhCTt9kLx0IkEAAAAAAADAAAABAADAAAAAwADAAIA////////BQAAAAMAEAAL+IHQwQShS0GVHzF7OM1qfQQAAAABAAMAAAACAAMAAAABAAMAAAAEAP///////wQAAgD///////8FAAAABAAQAAtRtPkO8uv1Rb1z6fuoS31R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A2fQSmq/20OEJO32QvHQiQREYXRhAAUAAAAAAk5hbWUADQAAAExpbmtEYXRhTGlzdAAQVmVyc2lvbgAAAAAACUxhc3RXcml0ZQCcQGg1kAEAAAABAP////9hAGEAAAAFX2lkABAAAAAE+IHQwQShS0GVHzF7OM1qfQREYXRhAAUAAAAAAk5hbWUADQAAAExpbmtEYXRhTGlzdAAQVmVyc2lvbgABAAAACUxhc3RXcml0ZQCdQGg1kAEAAAACAP////9wAHAAAAAFX2lkABAAAAAEUbT5DvLr9UW9c+n7qEt9UQNEYXRhABYAAAACUGVyc29uYWxJZAABAAAAAAACTmFtZQALAAAAUGVyc29uYWxJZAAQVmVyc2lvbgAAAAAACUxhc3RXcml0ZQC5QGg1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IBAwAAAAMA////////DgAGTGlua0RhdGFMaXN0XzEEAAAAAQAFAAAAAgAFAAAABAA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44797431878672"/>
  <p:tag name="EMPOWERCHARTSPROPERTIES_B_LENGTH" val="24576"/>
  <p:tag name="DOWN_MIGRATION_INITIAL_LAYOUT_REQUIRED" val="9.2.99"/>
  <p:tag name="RUNTIME_ID" val="80742f46-50dd-4a23-89f5-d098cc378c3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cd204fa-c682-4548-a7cc-a98881c75e1c"/>
  <p:tag name="MIO_EKGUID" val="1d177e87-71b0-47a3-a627-5d259470a60a"/>
  <p:tag name="MIO_UPDATE" val="True"/>
  <p:tag name="MIO_VERSION" val="23.06.2025 16:04:51"/>
  <p:tag name="MIO_DBID" val="b8fcb12d-af03-49eb-9f79-bb019be99e1e"/>
  <p:tag name="MIO_LASTDOWNLOADED" val="19.08.2025 11:07:02"/>
  <p:tag name="MIO_OBJECTNAME" val="How can I ensure usersstay on brand and use the correct templates, fonts and colors?"/>
  <p:tag name="MIO_LASTEDITORNAME" val="Georgina DEM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be85470-0285-4c23-b92c-6060a6b40b22"/>
  <p:tag name="MIO_CONTENTTAG" val="TgJeKbhsX0K/PdmYQMKdmQ=="/>
  <p:tag name="MIO_EKGUID" val="872ef571-a849-4d36-91c0-2e379b36e2d7"/>
  <p:tag name="MIO_UPDATE" val="True"/>
  <p:tag name="MIO_VERSION" val="29.07.2025 09:33:20"/>
  <p:tag name="MIO_DBID" val="b8fcb12d-af03-49eb-9f79-bb019be99e1e"/>
  <p:tag name="MIO_LASTDOWNLOADED" val="19.08.2025 11:07:03"/>
  <p:tag name="MIO_OBJECTNAME" val="Click to watch our ‘how-to’ video"/>
  <p:tag name="MIO_LASTEDITORNAME" val="Georgina DEM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TEXTELEMENT" val="MIO_FOOTNOTE"/>
  <p:tag name="MIO_GUID" val="058c280e-5383-4d49-941a-32b5000483ea"/>
  <p:tag name="MIO_EK" val="3965"/>
  <p:tag name="MIO_SKIP_CDCHECK" val="True"/>
  <p:tag name="MIO_EKGUID" val="66631306-e1f1-4de6-86ed-78ed67ba2555"/>
  <p:tag name="MIO_UPDATE" val="True"/>
  <p:tag name="MIO_VERSION" val="06.05.2020 20:08:27"/>
  <p:tag name="MIO_DBID" val="0F45B44C-9BC7-4D85-81C4-7155EE70A7B9"/>
  <p:tag name="MIO_LASTDOWNLOADED" val="06.09.2022 11:56:12.398"/>
  <p:tag name="MIO_OBJECTNAME" val="1 Footnote"/>
  <p:tag name="MIO_LASTEDITORNAME" val="Stephan Kuhner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1f59449-0982-4cf7-bd3d-695769cc44c9"/>
  <p:tag name="MIO_GUID" val="57b0e9d1-acb8-41a2-9e72-ede26f2962a8"/>
  <p:tag name="MIO_UPDATE" val="True"/>
  <p:tag name="MIO_VERSION" val="06.02.2024 22:15:32"/>
  <p:tag name="MIO_DBID" val="B8FCB12D-AF03-49EB-9F79-BB019BE99E1E"/>
  <p:tag name="MIO_LASTDOWNLOADED" val="10.06.2025 13:57:11.517"/>
  <p:tag name="MIO_OBJECTNAME" val="Device-Mockups_Laptop"/>
  <p:tag name="MIO_CONTENTTAG" val="OjI65CGaUEa/lhqlBORhwg=="/>
  <p:tag name="MIO_LASTEDITORNAME" val="Tiff DEMO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15f290da-c6b6-4cd1-8069-763bb2ccd4b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e88be437-9a03-4ece-bb12-ea1c224a6369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e11ab5d-1aa2-4576-8db5-6865393d3f5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dd7702-1990-476d-bc74-0f0658bb71e2"/>
  <p:tag name="MIO_CONTENTTAG" val="whJ4acglsUm8WzBkUQQjxg=="/>
  <p:tag name="MIO_EKGUID" val="3178b465-0b81-4b80-b105-86572d537c8c"/>
  <p:tag name="MIO_UPDATE" val="True"/>
  <p:tag name="MIO_VERSION" val="24.06.2025 12:43:26"/>
  <p:tag name="MIO_DBID" val="b8fcb12d-af03-49eb-9f79-bb019be99e1e"/>
  <p:tag name="MIO_LASTDOWNLOADED" val="19.08.2025 11:07:03"/>
  <p:tag name="MIO_OBJECTNAME" val="Four tools to protect and promote your brand"/>
  <p:tag name="MIO_LASTEDITORNAME" val="Georgina DEMO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/////wUACgwAAAAAAAAAAAAAIAD///////////////8AAAD///////////////8DAAAABA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wKtrgcH5O5Ct/GT0PmPxMcEAAAAAAADAAAABAADAAAAAwADAAIA////////BQAAAAMAEAALp/wA4zXAx0SSMP2X8tGwWgQAAAABAAMAAAACAAMAAAABAAMAAAAAAP///////wQAAQD///////8FAAAABAAQAAtpH4QHdDcYQaJHSENW/+r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Aq2uBwfk7kK38ZPQ+Y/ExwREYXRhAAUAAAAAAk5hbWUADQAAAExpbmtEYXRhTGlzdAAQVmVyc2lvbgABAAAACUxhc3RXcml0ZQCZE3KfkgEAAAABAP////9hAGEAAAAFX2lkABAAAAAEp/wA4zXAx0SSMP2X8tGwWgREYXRhAAUAAAAAAk5hbWUADQAAAExpbmtEYXRhTGlzdAAQVmVyc2lvbgAAAAAACUxhc3RXcml0ZQCZE3KfkgEAAAACAP////9wAHAAAAAFX2lkABAAAAAEaR+EB3Q3GEGiR0hDVv/q7ANEYXRhABYAAAACUGVyc29uYWxJZAABAAAAAAACTmFtZQALAAAAUGVyc29uYWxJZAAQVmVyc2lvbgAAAAAACUxhc3RXcml0ZQDBE3Kf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D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QBAwAAAAQA////////DAAGUGVyc29uYWxJZF8wBAAAAAIABQAAAAIABQAAAAEABQAAAAM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48487065217911"/>
  <p:tag name="EMPOWERCHARTSPROPERTIES_B_LENGTH" val="24576"/>
  <p:tag name="DOWN_MIGRATION_INITIAL_LAYOUT_REQUIRED" val="9.2.99"/>
  <p:tag name="RUNTIME_ID" val="cd01c235-ce09-4476-aa98-80cc31675ae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5gs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UAAAACABAAC/IKdbAVNLJIq51Eabn8GJoEAAAAAAADAAAAAAADAAAAAwADAAAAAAD///////8DAAAAAAD///////8DAAAAAAD///////8DAAAAAAD///////8DAAEA////////BQAAAAMAEAALnnmy19xwEUuPSQ2dzD0Q4AQAAAABAAMAAAACAAMAAAAEAAQAAQD///////8FAAAABAAQAAuEh5DgFsB2R4KxJ0vJuh2j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8gp1sBU0skirnURpufwYmgREYXRhAAUAAAAAAk5hbWUADQAAAExpbmtEYXRhTGlzdAAQVmVyc2lvbgAAAAAACUxhc3RXcml0ZQAZfucEkQEAAAABAP////9hAGEAAAAFX2lkABAAAAAEnnmy19xwEUuPSQ2dzD0Q4AREYXRhAAUAAAAAAk5hbWUADQAAAExpbmtEYXRhTGlzdAAQVmVyc2lvbgABAAAACUxhc3RXcml0ZQAZfucEkQEAAAACAP////9wAHAAAAAFX2lkABAAAAAEhIeQ4BbAdkeCsSdLybodowNEYXRhABYAAAACUGVyc29uYWxJZAABAAAAAAACTmFtZQALAAAAUGVyc29uYWxJZAAQVmVyc2lvbgAAAAAACUxhc3RXcml0ZQBHfucE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UBAwAAAAIA////////DgAGTGlua0RhdGFMaXN0XzAEAAAAAAAFAAAAAAAFAAAAAwAFAAAAAAD///////8FAAAAAAD///////8FAAAAAAD///////8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79609657338405"/>
  <p:tag name="EMPOWERCHARTSPROPERTIES_B_LENGTH" val="24576"/>
  <p:tag name="DOWN_MIGRATION_INITIAL_LAYOUT_REQUIRED" val="9.2.99"/>
  <p:tag name="MIO_GUID" val="51c89304-f400-4985-a18a-8f791d659fc4"/>
  <p:tag name="MIO_EKGUID" val="ff122244-7a09-4fc6-97c0-37500433f90f"/>
  <p:tag name="MIO_UPDATE" val="True"/>
  <p:tag name="MIO_VERSION" val="03.08.2024 19:30:26"/>
  <p:tag name="MIO_DBID" val="B8FCB12D-AF03-49EB-9F79-BB019BE99E1E"/>
  <p:tag name="MIO_LASTDOWNLOADED" val="21.10.2024 09:22:28.515"/>
  <p:tag name="MIO_OBJECTNAME" val="Gap page spacers - Vertical"/>
  <p:tag name="MIO_CONTENTTAG" val="XE2/Mo91rUOrcOqiWxfsqg=="/>
  <p:tag name="MIO_LASTEDITORNAME" val="Georgina DEMO"/>
  <p:tag name="RUNTIME_ID" val="95a46dfb-0e29-400f-9125-dc2b91101b3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ce9c184-0add-4894-ae7d-1cff21740093"/>
  <p:tag name="MIO_EKGUID" val="d1186848-02ab-4f69-b438-6a40a5bbc852"/>
  <p:tag name="MIO_UPDATE" val="True"/>
  <p:tag name="MIO_VERSION" val="20.05.2020 11:46:05"/>
  <p:tag name="MIO_DBID" val="B8FCB12D-AF03-49EB-9F79-BB019BE99E1E"/>
  <p:tag name="MIO_LASTDOWNLOADED" val="20.05.2020 21:04:18"/>
  <p:tag name="MIO_OBJECTNAME" val="01-04"/>
  <p:tag name="MIO_LASTEDITORNAME" val="Derrick Waylen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3KDVI82fIpCvPZW1P4oztoEAAAAAAADAAAAAAADAAAAAwADAAIA////////BQAAAAMAEAALl22lqXJBVECOT8NtlKJLDwQAAAABAAMAAAACAAMAAAAEAAMAAAAAAP///////wQAAQD///////8FAAAABAAQAAsCwxfvP+nITZuuPxDVNW7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coNUjzZ8ikK89lbU/ijO2gREYXRhAAUAAAAAAk5hbWUADQAAAExpbmtEYXRhTGlzdAAQVmVyc2lvbgAAAAAACUxhc3RXcml0ZQDRIG+fkgEAAAABAP////9hAGEAAAAFX2lkABAAAAAEl22lqXJBVECOT8NtlKJLDwREYXRhAAUAAAAAAk5hbWUADQAAAExpbmtEYXRhTGlzdAAQVmVyc2lvbgABAAAACUxhc3RXcml0ZQD7IG+fkgEAAAACAP////9wAHAAAAAFX2lkABAAAAAEAsMX7z/pyE2brj8Q1TVuyANEYXRhABYAAAACUGVyc29uYWxJZAABAAAAAAACTmFtZQALAAAAUGVyc29uYWxJZAAQVmVyc2lvbgAAAAAACUxhc3RXcml0ZQBhvybbi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IBAwAAAAMA////////DgAGTGlua0RhdGFMaXN0XzEEAAAAAQAFAAAAAgAFAAAABAA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48485133459862"/>
  <p:tag name="EMPOWERCHARTSPROPERTIES_B_LENGTH" val="24576"/>
  <p:tag name="DOWN_MIGRATION_INITIAL_LAYOUT_REQUIRED" val="9.2.99"/>
  <p:tag name="RUNTIME_ID" val="5a5c96a2-b3a0-4fa8-8f59-2dfc6476749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wgsAAAAAAAAAAAAAIAD///////////////8AAAD///////////////8DAAAAAgD///////8DAAAAAgD///////8DAAAABA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w0QD7X8B3VGjnkMo7SxAlMEAAAAAAADAAAAAAADAAAABAADAAAAAAADAAAABAADAAUA////////BQAAAAMAEAALyi+o5LtFaEy8dKHY3vC+RgQAAAABAAMAAAAEAAMAAAABAAMAAAAEAP///////wMAAAAEAP///////wMAAAAAAP///////wMAAAAAAP///////wQAAwD///////8FAAAABAAQAAv23b7HH3MmR6v4USYXMbJjBAAAAAIAAwAAAAIAAwAAAAM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DRAPtfwHdUaOeQyjtLECUwREYXRhAAUAAAAAAk5hbWUADQAAAExpbmtEYXRhTGlzdAAQVmVyc2lvbgABAAAACUxhc3RXcml0ZQAM+nifkgEAAAABAP////9hAGEAAAAFX2lkABAAAAAEyi+o5LtFaEy8dKHY3vC+RgREYXRhAAUAAAAAAk5hbWUADQAAAExpbmtEYXRhTGlzdAAQVmVyc2lvbgAAAAAACUxhc3RXcml0ZQAM+nifkgEAAAACAP////9wAHAAAAAFX2lkABAAAAAE9t2+xx9zJker+FEmFzGyYwNEYXRhABYAAAACUGVyc29uYWxJZAABAAAAAAACTmFtZQALAAAAUGVyc29uYWxJZAAQVmVyc2lvbgAAAAAACUxhc3RXcml0ZQAq+nif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D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wD///////8DAAUBAwAAAAMA////////DgAGTGlua0RhdGFMaXN0XzAEAAAAAQAFAAAAAAAFAAAAAgAFAAAAAAAFAAAAAgAFAAAAAAD///////8FAAAAAAD///////8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48491587246790"/>
  <p:tag name="EMPOWERCHARTSPROPERTIES_B_LENGTH" val="24576"/>
  <p:tag name="DOWN_MIGRATION_INITIAL_LAYOUT_REQUIRED" val="9.2.99"/>
  <p:tag name="RUNTIME_ID" val="2e61c058-07e1-41c0-8b29-0c14853ddb7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6F9hAiNnNxMnUM57RiDTQoEAAAAAAADAAAAAAADAAAABAADAAEA////////BQAAAAMAEAAL1ZnJ3SSJUEGIJh93bcAcrAQAAAABAAMAAAAEAAMAAAABAAQAAQD///////8FAAAABAAQAAvNMEtVaMvSTZTvZIQrIr1M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oX2ECI2c3EydQzntGINNCgREYXRhAAUAAAAAAk5hbWUADQAAAExpbmtEYXRhTGlzdAAQVmVyc2lvbgAAAAAACUxhc3RXcml0ZQD1+nifkgEAAAABAP////9hAGEAAAAFX2lkABAAAAAE1ZnJ3SSJUEGIJh93bcAcrAREYXRhAAUAAAAAAk5hbWUADQAAAExpbmtEYXRhTGlzdAAQVmVyc2lvbgABAAAACUxhc3RXcml0ZQAE+3ifkgEAAAACAP////9wAHAAAAAFX2lkABAAAAAEzTBLVWjL0k2U72SEKyK9TANEYXRhABYAAAACUGVyc29uYWxJZAABAAAAAAACTmFtZQALAAAAUGVyc29uYWxJZAAQVmVyc2lvbgAAAAAACUxhc3RXcml0ZQAf+3if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MBAwAAAAQA////////DAAGUGVyc29uYWxJZF8wBAAAAAIABQAAAAMABQAAAAE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48491589676659"/>
  <p:tag name="EMPOWERCHARTSPROPERTIES_B_LENGTH" val="24576"/>
  <p:tag name="DOWN_MIGRATION_INITIAL_LAYOUT_REQUIRED" val="9.2.99"/>
  <p:tag name="RUNTIME_ID" val="d7ec5a6b-6f61-46fe-8981-9c29ee624e1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TEXTELEMENT" val="MIO_FOOTNOTE"/>
  <p:tag name="MIO_GUID" val="058c280e-5383-4d49-941a-32b5000483ea"/>
  <p:tag name="MIO_EK" val="3965"/>
  <p:tag name="MIO_SKIP_CDCHECK" val="True"/>
  <p:tag name="MIO_EKGUID" val="66631306-e1f1-4de6-86ed-78ed67ba2555"/>
  <p:tag name="MIO_UPDATE" val="True"/>
  <p:tag name="MIO_VERSION" val="06.05.2020 20:08:27"/>
  <p:tag name="MIO_DBID" val="0F45B44C-9BC7-4D85-81C4-7155EE70A7B9"/>
  <p:tag name="MIO_LASTDOWNLOADED" val="06.09.2022 11:56:12.398"/>
  <p:tag name="MIO_OBJECTNAME" val="1 Footnote"/>
  <p:tag name="MIO_LASTEDITORNAME" val="Stephan Kuhner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zgsAAAAAAAAAAAAAIAD///////////////8AAAD///////////////8DAAAABAD///////8DAAAABA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3uKL3EiudhDjS3FiWxRYrUEAAAAAAADAAAABAADAAAAAwADAAAABAADAAAAAwADAAUA////////BQAAAAMAEAALjCTWcsQ97EmCb9UXY1FHjgQAAAABAAMAAAACAAMAAAABAAMAAAACAP///////wMAAAAAAP///////wMAAAAAAP///////wMAAAAAAP///////wQAAgD///////8FAAAABAAQAAvF7NtZXQ/IQqWPRoeyfiOH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e4ovcSK52EONLcWJbFFitQREYXRhAAUAAAAAAk5hbWUADQAAAExpbmtEYXRhTGlzdAAQVmVyc2lvbgAAAAAACUxhc3RXcml0ZQD7U5oRkAEAAAABAP////9hAGEAAAAFX2lkABAAAAAEjCTWcsQ97EmCb9UXY1FHjgREYXRhAAUAAAAAAk5hbWUADQAAAExpbmtEYXRhTGlzdAAQVmVyc2lvbgABAAAACUxhc3RXcml0ZQAFVJoRkAEAAAACAP////9wAHAAAAAFX2lkABAAAAAExezbWV0PyEKlj0aHsn4jhwNEYXRhABYAAAACUGVyc29uYWxJZAABAAAAAAACTmFtZQALAAAAUGVyc29uYWxJZAAQVmVyc2lvbgAAAAAACUxhc3RXcml0ZQAfVJoR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UBAwAAAAMA////////DgAGTGlua0RhdGFMaXN0XzEEAAAAAQAFAAAAAgAFAAAABAAFAAAAAgD///////8FAAAAAAD///////8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38790451786665"/>
  <p:tag name="EMPOWERCHARTSPROPERTIES_B_LENGTH" val="24576"/>
  <p:tag name="DOWN_MIGRATION_INITIAL_LAYOUT_REQUIRED" val="9.2.99"/>
  <p:tag name="RUNTIME_ID" val="2d3a6333-01b8-4ab2-a91c-ee5f75e618f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3s4S7nohlGoEQe54uCDoQEAAAAAAADAAAABAADAAAAAwADAAEA////////BQAAAAMAEAALBy3fentu3kiHR9dDjl+ejwQAAAABAAMAAAACAAMAAAABAAQAAgD///////8FAAAABAAQAAslQT0MsfLVRrGHY3a/inY5BAAAAAIAAwAAAAAAAwAAAAI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HezhLueiGUagRB7ni4IOhAREYXRhAAUAAAAAAk5hbWUADQAAAExpbmtEYXRhTGlzdAAQVmVyc2lvbgABAAAACUxhc3RXcml0ZQBiVJoRkAEAAAABAP////9hAGEAAAAFX2lkABAAAAAEBy3fentu3kiHR9dDjl+ejwREYXRhAAUAAAAAAk5hbWUADQAAAExpbmtEYXRhTGlzdAAQVmVyc2lvbgAAAAAACUxhc3RXcml0ZQBZVJoRkAEAAAACAP////9wAHAAAAAFX2lkABAAAAAEJUE9DLHy1Uaxh2N2v4p2OQNEYXRhABYAAAACUGVyc29uYWxJZAABAAAAAAACTmFtZQALAAAAUGVyc29uYWxJZAAQVmVyc2lvbgAAAAAACUxhc3RXcml0ZQB6VJoR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38790452687782"/>
  <p:tag name="EMPOWERCHARTSPROPERTIES_B_LENGTH" val="24576"/>
  <p:tag name="DOWN_MIGRATION_INITIAL_LAYOUT_REQUIRED" val="9.2.99"/>
  <p:tag name="RUNTIME_ID" val="2addd287-c909-4077-867b-6c199b2b859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ce9c184-0add-4894-ae7d-1cff21740093"/>
  <p:tag name="MIO_EKGUID" val="d1186848-02ab-4f69-b438-6a40a5bbc852"/>
  <p:tag name="MIO_UPDATE" val="True"/>
  <p:tag name="MIO_VERSION" val="20.05.2020 11:46:05"/>
  <p:tag name="MIO_DBID" val="B8FCB12D-AF03-49EB-9F79-BB019BE99E1E"/>
  <p:tag name="MIO_LASTDOWNLOADED" val="20.05.2020 21:04:18"/>
  <p:tag name="MIO_OBJECTNAME" val="01-04"/>
  <p:tag name="MIO_LASTEDITORNAME" val="Derrick Waylen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3KDVI82fIpCvPZW1P4oztoEAAAAAAADAAAAAAADAAAAAwADAAIA////////BQAAAAMAEAALl22lqXJBVECOT8NtlKJLDwQAAAABAAMAAAACAAMAAAAEAAMAAAAAAP///////wQAAQD///////8FAAAABAAQAAsCwxfvP+nITZuuPxDVNW7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coNUjzZ8ikK89lbU/ijO2gREYXRhAAUAAAAAAk5hbWUADQAAAExpbmtEYXRhTGlzdAAQVmVyc2lvbgAAAAAACUxhc3RXcml0ZQDRIG+fkgEAAAABAP////9hAGEAAAAFX2lkABAAAAAEl22lqXJBVECOT8NtlKJLDwREYXRhAAUAAAAAAk5hbWUADQAAAExpbmtEYXRhTGlzdAAQVmVyc2lvbgABAAAACUxhc3RXcml0ZQD7IG+fkgEAAAACAP////9wAHAAAAAFX2lkABAAAAAEAsMX7z/pyE2brj8Q1TVuyANEYXRhABYAAAACUGVyc29uYWxJZAABAAAAAAACTmFtZQALAAAAUGVyc29uYWxJZAAQVmVyc2lvbgAAAAAACUxhc3RXcml0ZQBhvybbi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IBAwAAAAMA////////DgAGTGlua0RhdGFMaXN0XzEEAAAAAQAFAAAAAgAFAAAABAA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48485133459862"/>
  <p:tag name="EMPOWERCHARTSPROPERTIES_B_LENGTH" val="24576"/>
  <p:tag name="DOWN_MIGRATION_INITIAL_LAYOUT_REQUIRED" val="9.2.99"/>
  <p:tag name="RUNTIME_ID" val="6651d69c-d3d0-43a4-9633-90290bbeca8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zgsAAAAAAAAAAAAAIAD///////////////8AAAD///////////////8DAAAABAD///////8DAAAABA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3uKL3EiudhDjS3FiWxRYrUEAAAAAAADAAAABAADAAAAAwADAAAABAADAAAAAwADAAUA////////BQAAAAMAEAALjCTWcsQ97EmCb9UXY1FHjgQAAAABAAMAAAACAAMAAAABAAMAAAACAP///////wMAAAAAAP///////wMAAAAAAP///////wMAAAAAAP///////wQAAgD///////8FAAAABAAQAAvF7NtZXQ/IQqWPRoeyfiOH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e4ovcSK52EONLcWJbFFitQREYXRhAAUAAAAAAk5hbWUADQAAAExpbmtEYXRhTGlzdAAQVmVyc2lvbgAAAAAACUxhc3RXcml0ZQD7U5oRkAEAAAABAP////9hAGEAAAAFX2lkABAAAAAEjCTWcsQ97EmCb9UXY1FHjgREYXRhAAUAAAAAAk5hbWUADQAAAExpbmtEYXRhTGlzdAAQVmVyc2lvbgABAAAACUxhc3RXcml0ZQAFVJoRkAEAAAACAP////9wAHAAAAAFX2lkABAAAAAExezbWV0PyEKlj0aHsn4jhwNEYXRhABYAAAACUGVyc29uYWxJZAABAAAAAAACTmFtZQALAAAAUGVyc29uYWxJZAAQVmVyc2lvbgAAAAAACUxhc3RXcml0ZQAfVJoR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UBAwAAAAMA////////DgAGTGlua0RhdGFMaXN0XzEEAAAAAQAFAAAAAgAFAAAABAAFAAAAAgD///////8FAAAAAAD///////8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38790451786665"/>
  <p:tag name="EMPOWERCHARTSPROPERTIES_B_LENGTH" val="24576"/>
  <p:tag name="DOWN_MIGRATION_INITIAL_LAYOUT_REQUIRED" val="9.2.99"/>
  <p:tag name="RUNTIME_ID" val="d11f6ce6-d8b1-4a27-b5e6-2237120f13f8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3s4S7nohlGoEQe54uCDoQEAAAAAAADAAAABAADAAAAAwADAAEA////////BQAAAAMAEAALBy3fentu3kiHR9dDjl+ejwQAAAABAAMAAAACAAMAAAABAAQAAgD///////8FAAAABAAQAAslQT0MsfLVRrGHY3a/inY5BAAAAAIAAwAAAAAAAwAAAAI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HezhLueiGUagRB7ni4IOhAREYXRhAAUAAAAAAk5hbWUADQAAAExpbmtEYXRhTGlzdAAQVmVyc2lvbgABAAAACUxhc3RXcml0ZQBiVJoRkAEAAAABAP////9hAGEAAAAFX2lkABAAAAAEBy3fentu3kiHR9dDjl+ejwREYXRhAAUAAAAAAk5hbWUADQAAAExpbmtEYXRhTGlzdAAQVmVyc2lvbgAAAAAACUxhc3RXcml0ZQBZVJoRkAEAAAACAP////9wAHAAAAAFX2lkABAAAAAEJUE9DLHy1Uaxh2N2v4p2OQNEYXRhABYAAAACUGVyc29uYWxJZAABAAAAAAACTmFtZQALAAAAUGVyc29uYWxJZAAQVmVyc2lvbgAAAAAACUxhc3RXcml0ZQB6VJoR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38790452687782"/>
  <p:tag name="EMPOWERCHARTSPROPERTIES_B_LENGTH" val="24576"/>
  <p:tag name="DOWN_MIGRATION_INITIAL_LAYOUT_REQUIRED" val="9.2.99"/>
  <p:tag name="RUNTIME_ID" val="0871de3e-794e-476f-b9d1-b4c3e041efb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/////wUACgwAAAAAAAAAAAAAIAD///////////////8AAAD///////////////8DAAAABA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6sGvcojzKVLiaovlzWeqKAEAAAAAAADAAAABAADAAAAAwADAAIA////////BQAAAAMAEAALlTlN7GOJtkK0+ovfo4AtBAQAAAABAAMAAAACAAMAAAABAAMAAAAAAP///////wQAAQD///////8FAAAABAAQAAv9nMoHfVMURrMy04dxGw2M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qwa9yiPMpUuJqi+XNZ6ooAREYXRhAAUAAAAAAk5hbWUADQAAAExpbmtEYXRhTGlzdAAQVmVyc2lvbgAAAAAACUxhc3RXcml0ZQDm+3ifkgEAAAABAP////9hAGEAAAAFX2lkABAAAAAElTlN7GOJtkK0+ovfo4AtBAREYXRhAAUAAAAAAk5hbWUADQAAAExpbmtEYXRhTGlzdAAQVmVyc2lvbgABAAAACUxhc3RXcml0ZQDr+3ifkgEAAAACAP////9wAHAAAAAFX2lkABAAAAAE/ZzKB31TFEazMtOHcRsNjANEYXRhABYAAAACUGVyc29uYWxJZAABAAAAAAACTmFtZQALAAAAUGVyc29uYWxJZAAQVmVyc2lvbgAAAAAACUxhc3RXcml0ZQAG/Hif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IBAwAAAAMA////////DgAGTGlua0RhdGFMaXN0XzEEAAAAAQAFAAAAAgAFAAAABAAFAAAAAAAFAAAABAAEAAMBAwAAAAQA////////DAAGUGVyc29uYWxJZF8wBAAAAAIABQAAAAMABQAAAAEABQAAAAM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48491591981558"/>
  <p:tag name="EMPOWERCHARTSPROPERTIES_B_LENGTH" val="24576"/>
  <p:tag name="DOWN_MIGRATION_INITIAL_LAYOUT_REQUIRED" val="9.2.99"/>
  <p:tag name="RUNTIME_ID" val="f292833f-9d2d-471f-8687-81eddc733f8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MAAAAAAAAAAwAAAAMAAAAA/////wUA8gsAAAAAAAAAAAAAIAD///////////////8AAAD////////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2RF+2CSjotCgBTYU6b7eYgEAAAAAAADAAAAAAADAAAAAwADAAEA////////BQAAAAMAEAALBS8HcOYTSkCRUvxXvyEXugQAAAABAAMAAAACAAMAAAAEAAQABAD///////8FAAAABAAQAAu4OK66UEHHR7oS8jrc9Pk7BAAAAAIAAwAAAAMAAwAAAAEA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ZEX7YJKOi0KAFNhTpvt5iAREYXRhAAUAAAAAAk5hbWUADQAAAExpbmtEYXRhTGlzdAAQVmVyc2lvbgABAAAACUxhc3RXcml0ZQAv/HifkgEAAAABAP////9hAGEAAAAFX2lkABAAAAAEBS8HcOYTSkCRUvxXvyEXugREYXRhAAUAAAAAAk5hbWUADQAAAExpbmtEYXRhTGlzdAAQVmVyc2lvbgAAAAAACUxhc3RXcml0ZQAu/HifkgEAAAACAP////9wAHAAAAAFX2lkABAAAAAEuDiuulBBx0e6EvI63PT5OwNEYXRhABYAAAACUGVyc29uYWxJZAABAAAAAAACTmFtZQALAAAAUGVyc29uYWxJZAAQVmVyc2lvbgAAAAAACUxhc3RXcml0ZQBN/Hif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48491592724471"/>
  <p:tag name="EMPOWERCHARTSPROPERTIES_B_LENGTH" val="24576"/>
  <p:tag name="DOWN_MIGRATION_INITIAL_LAYOUT_REQUIRED" val="9.2.99"/>
  <p:tag name="RUNTIME_ID" val="c82fcafd-5452-460c-b584-1b090c7cf85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ce9c184-0add-4894-ae7d-1cff21740093"/>
  <p:tag name="MIO_EKGUID" val="d1186848-02ab-4f69-b438-6a40a5bbc852"/>
  <p:tag name="MIO_UPDATE" val="True"/>
  <p:tag name="MIO_VERSION" val="20.05.2020 11:46:05"/>
  <p:tag name="MIO_DBID" val="B8FCB12D-AF03-49EB-9F79-BB019BE99E1E"/>
  <p:tag name="MIO_LASTDOWNLOADED" val="20.05.2020 21:04:18"/>
  <p:tag name="MIO_OBJECTNAME" val="01-04"/>
  <p:tag name="MIO_LASTEDITORNAME" val="Derrick Waylen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3KDVI82fIpCvPZW1P4oztoEAAAAAAADAAAAAAADAAAAAwADAAIA////////BQAAAAMAEAALl22lqXJBVECOT8NtlKJLDwQAAAABAAMAAAACAAMAAAAEAAMAAAAAAP///////wQAAQD///////8FAAAABAAQAAsCwxfvP+nITZuuPxDVNW7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coNUjzZ8ikK89lbU/ijO2gREYXRhAAUAAAAAAk5hbWUADQAAAExpbmtEYXRhTGlzdAAQVmVyc2lvbgAAAAAACUxhc3RXcml0ZQDRIG+fkgEAAAABAP////9hAGEAAAAFX2lkABAAAAAEl22lqXJBVECOT8NtlKJLDwREYXRhAAUAAAAAAk5hbWUADQAAAExpbmtEYXRhTGlzdAAQVmVyc2lvbgABAAAACUxhc3RXcml0ZQD7IG+fkgEAAAACAP////9wAHAAAAAFX2lkABAAAAAEAsMX7z/pyE2brj8Q1TVuyANEYXRhABYAAAACUGVyc29uYWxJZAABAAAAAAACTmFtZQALAAAAUGVyc29uYWxJZAAQVmVyc2lvbgAAAAAACUxhc3RXcml0ZQBhvybbi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IBAwAAAAMA////////DgAGTGlua0RhdGFMaXN0XzEEAAAAAQAFAAAAAgAFAAAABAA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48485133459862"/>
  <p:tag name="EMPOWERCHARTSPROPERTIES_B_LENGTH" val="24576"/>
  <p:tag name="DOWN_MIGRATION_INITIAL_LAYOUT_REQUIRED" val="9.2.99"/>
  <p:tag name="RUNTIME_ID" val="83dd9db1-26cc-4b04-884e-6057973eb8f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zgsAAAAAAAAAAAAAIAD///////////////8AAAD///////////////8DAAAABAD///////8DAAAABA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3uKL3EiudhDjS3FiWxRYrUEAAAAAAADAAAABAADAAAAAwADAAAABAADAAAAAwADAAUA////////BQAAAAMAEAALjCTWcsQ97EmCb9UXY1FHjgQAAAABAAMAAAACAAMAAAABAAMAAAACAP///////wMAAAAAAP///////wMAAAAAAP///////wMAAAAAAP///////wQAAgD///////8FAAAABAAQAAvF7NtZXQ/IQqWPRoeyfiOH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e4ovcSK52EONLcWJbFFitQREYXRhAAUAAAAAAk5hbWUADQAAAExpbmtEYXRhTGlzdAAQVmVyc2lvbgAAAAAACUxhc3RXcml0ZQD7U5oRkAEAAAABAP////9hAGEAAAAFX2lkABAAAAAEjCTWcsQ97EmCb9UXY1FHjgREYXRhAAUAAAAAAk5hbWUADQAAAExpbmtEYXRhTGlzdAAQVmVyc2lvbgABAAAACUxhc3RXcml0ZQAFVJoRkAEAAAACAP////9wAHAAAAAFX2lkABAAAAAExezbWV0PyEKlj0aHsn4jhwNEYXRhABYAAAACUGVyc29uYWxJZAABAAAAAAACTmFtZQALAAAAUGVyc29uYWxJZAAQVmVyc2lvbgAAAAAACUxhc3RXcml0ZQAfVJoR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UBAwAAAAMA////////DgAGTGlua0RhdGFMaXN0XzEEAAAAAQAFAAAAAgAFAAAABAAFAAAAAgD///////8FAAAAAAD///////8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38790451786665"/>
  <p:tag name="EMPOWERCHARTSPROPERTIES_B_LENGTH" val="24576"/>
  <p:tag name="DOWN_MIGRATION_INITIAL_LAYOUT_REQUIRED" val="9.2.99"/>
  <p:tag name="RUNTIME_ID" val="fff08a1c-2425-45e9-8019-d56e1b7207b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3s4S7nohlGoEQe54uCDoQEAAAAAAADAAAABAADAAAAAwADAAEA////////BQAAAAMAEAALBy3fentu3kiHR9dDjl+ejwQAAAABAAMAAAACAAMAAAABAAQAAgD///////8FAAAABAAQAAslQT0MsfLVRrGHY3a/inY5BAAAAAIAAwAAAAAAAwAAAAI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HezhLueiGUagRB7ni4IOhAREYXRhAAUAAAAAAk5hbWUADQAAAExpbmtEYXRhTGlzdAAQVmVyc2lvbgABAAAACUxhc3RXcml0ZQBiVJoRkAEAAAABAP////9hAGEAAAAFX2lkABAAAAAEBy3fentu3kiHR9dDjl+ejwREYXRhAAUAAAAAAk5hbWUADQAAAExpbmtEYXRhTGlzdAAQVmVyc2lvbgAAAAAACUxhc3RXcml0ZQBZVJoRkAEAAAACAP////9wAHAAAAAFX2lkABAAAAAEJUE9DLHy1Uaxh2N2v4p2OQNEYXRhABYAAAACUGVyc29uYWxJZAABAAAAAAACTmFtZQALAAAAUGVyc29uYWxJZAAQVmVyc2lvbgAAAAAACUxhc3RXcml0ZQB6VJoR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38790452687782"/>
  <p:tag name="EMPOWERCHARTSPROPERTIES_B_LENGTH" val="24576"/>
  <p:tag name="DOWN_MIGRATION_INITIAL_LAYOUT_REQUIRED" val="9.2.99"/>
  <p:tag name="RUNTIME_ID" val="43dc7b15-3851-4686-9604-44ecc8302b7f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AgD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n4YVTvKuVNmPtrwTtYIDUEAAAAAAADAAAAAAADAAAABAADAAAAAAADAAAABAADAAEA////////BQAAAAMAEAALkJk05d+pqUeLf42WK5s4YAQAAAABAAMAAAAEAAMAAAABAAQAAwD///////8FAAAABAAQAAtycYSRm0uuR4Xq3zyYuIdEBAAAAAIAAwAAAAIAAwAAAAMAAwAAAAI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fhhVO8q5U2Y+2vBO1ggNQREYXRhAAUAAAAAAk5hbWUADQAAAExpbmtEYXRhTGlzdAAQVmVyc2lvbgABAAAACUxhc3RXcml0ZQCqwYWAjwEAAAABAP////9hAGEAAAAFX2lkABAAAAAEkJk05d+pqUeLf42WK5s4YAREYXRhAAUAAAAAAk5hbWUADQAAAExpbmtEYXRhTGlzdAAQVmVyc2lvbgAAAAAACUxhc3RXcml0ZQCbwYWAjwEAAAACAP////9wAHAAAAAFX2lkABAAAAAEcnGEkZtLrkeF6t88mLiHRANEYXRhABYAAAACUGVyc29uYWxJZAABAAAAAAACTmFtZQALAAAAUGVyc29uYWxJZAAQVmVyc2lvbgAAAAAACUxhc3RXcml0ZQDrwYWA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MBAwAAAAQA////////DAAGUGVyc29uYWxJZF8wBAAAAAIABQAAAAIABQAAAAEABQAAAAI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14450007044896"/>
  <p:tag name="EMPOWERCHARTSPROPERTIES_B_LENGTH" val="24576"/>
  <p:tag name="DOWN_MIGRATION_INITIAL_LAYOUT_REQUIRED" val="9.2.99"/>
  <p:tag name="RUNTIME_ID" val="cae05ed3-ef2e-4105-89ac-fd5b5a6b003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8qFnCTxhb1Ikor3X5YFOmkEAAAAAAADAAAAAAADAAAAAwADAAIA////////BQAAAAMAEAALa/YWVv2ML0+v9UZVNWutiwQAAAABAAMAAAACAAMAAAAEAAMAAAAAAAMAAAAEAAQAAgD///////8FAAAABAAQAAt57/7N33liSLaCwP1SDVSP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oWcJPGFvUiSivdflgU6aQREYXRhAAUAAAAAAk5hbWUADQAAAExpbmtEYXRhTGlzdAAQVmVyc2lvbgAAAAAACUxhc3RXcml0ZQBJ+3ifkgEAAAABAP////9hAGEAAAAFX2lkABAAAAAEa/YWVv2ML0+v9UZVNWutiwREYXRhAAUAAAAAAk5hbWUADQAAAExpbmtEYXRhTGlzdAAQVmVyc2lvbgABAAAACUxhc3RXcml0ZQBJ+3ifkgEAAAACAP////9wAHAAAAAFX2lkABAAAAAEee/+zd95Yki2gsD9Ug1UjwNEYXRhABYAAAACUGVyc29uYWxJZAABAAAAAAACTmFtZQALAAAAUGVyc29uYWxJZAAQVmVyc2lvbgAAAAAACUxhc3RXcml0ZQBy+3if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IBAwAAAAMA////////DgAGTGlua0RhdGFMaXN0XzEEAAAAAQAFAAAAAgAFAAAABAA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48491590519896"/>
  <p:tag name="EMPOWERCHARTSPROPERTIES_B_LENGTH" val="24576"/>
  <p:tag name="DOWN_MIGRATION_INITIAL_LAYOUT_REQUIRED" val="9.2.99"/>
  <p:tag name="RUNTIME_ID" val="9ee8c017-3f8f-44d9-9398-dc3f4f4d0ac3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/////wUAzgsAAAAAAAAAAAAAIAD///////////////8AAAD////////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UAAAACABAACz/2qy4xUkFCv6ghwBltTj4EAAAAAAADAAAAAAADAAAABAADAAAAAAADAAAABAADAAAAAAD///////8DAAAAAAD///////8DAAAAAAD///////8DAAAAAAD///////8DAAEA////////BQAAAAMAEAALUQ25b5AOm02BmydvvnI5bwQAAAABAAMAAAAEAAMAAAABAAQAAgD///////8FAAAABAAQAAuyyHZgKM9HRZnYuwmN2kaZBAAAAAIAAwAAAAIAAwAAAAMA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P/arLjFSQUK/qCHAGW1OPgREYXRhAAUAAAAAAk5hbWUADQAAAExpbmtEYXRhTGlzdAAQVmVyc2lvbgABAAAACUxhc3RXcml0ZQCk+3ifkgEAAAABAP////9hAGEAAAAFX2lkABAAAAAEUQ25b5AOm02BmydvvnI5bwREYXRhAAUAAAAAAk5hbWUADQAAAExpbmtEYXRhTGlzdAAQVmVyc2lvbgAAAAAACUxhc3RXcml0ZQCi+3ifkgEAAAACAP////9wAHAAAAAFX2lkABAAAAAEssh2YCjPR0WZ2LsJjdpGmQNEYXRhABYAAAACUGVyc29uYWxJZAABAAAAAAACTmFtZQALAAAAUGVyc29uYWxJZAAQVmVyc2lvbgAAAAAACUxhc3RXcml0ZQC9+3if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DAP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YBAwAAAAIA////////DgAGTGlua0RhdGFMaXN0XzEEAAAAAAAFAAAAAwAFAAAABAAFAAAAAAAFAAAABAAFAAAAAAD///////8FAAAAAAD///////8FAAAAAAD///////8FAAAAAAD///////8DAAEBAwAAAAMA////////DgAGTGlua0RhdGFMaXN0XzAEAAAAAQ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48491591267891"/>
  <p:tag name="EMPOWERCHARTSPROPERTIES_B_LENGTH" val="24576"/>
  <p:tag name="DOWN_MIGRATION_INITIAL_LAYOUT_REQUIRED" val="9.2.99"/>
  <p:tag name="RUNTIME_ID" val="3930e2bb-6fff-4fd0-a1b8-6992afecda4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ce9c184-0add-4894-ae7d-1cff21740093"/>
  <p:tag name="MIO_EKGUID" val="d1186848-02ab-4f69-b438-6a40a5bbc852"/>
  <p:tag name="MIO_UPDATE" val="True"/>
  <p:tag name="MIO_VERSION" val="20.05.2020 11:46:05"/>
  <p:tag name="MIO_DBID" val="B8FCB12D-AF03-49EB-9F79-BB019BE99E1E"/>
  <p:tag name="MIO_LASTDOWNLOADED" val="20.05.2020 21:04:18"/>
  <p:tag name="MIO_OBJECTNAME" val="01-04"/>
  <p:tag name="MIO_LASTEDITORNAME" val="Derrick Waylen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3KDVI82fIpCvPZW1P4oztoEAAAAAAADAAAAAAADAAAAAwADAAIA////////BQAAAAMAEAALl22lqXJBVECOT8NtlKJLDwQAAAABAAMAAAACAAMAAAAEAAMAAAAAAP///////wQAAQD///////8FAAAABAAQAAsCwxfvP+nITZuuPxDVNW7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coNUjzZ8ikK89lbU/ijO2gREYXRhAAUAAAAAAk5hbWUADQAAAExpbmtEYXRhTGlzdAAQVmVyc2lvbgAAAAAACUxhc3RXcml0ZQDRIG+fkgEAAAABAP////9hAGEAAAAFX2lkABAAAAAEl22lqXJBVECOT8NtlKJLDwREYXRhAAUAAAAAAk5hbWUADQAAAExpbmtEYXRhTGlzdAAQVmVyc2lvbgABAAAACUxhc3RXcml0ZQD7IG+fkgEAAAACAP////9wAHAAAAAFX2lkABAAAAAEAsMX7z/pyE2brj8Q1TVuyANEYXRhABYAAAACUGVyc29uYWxJZAABAAAAAAACTmFtZQALAAAAUGVyc29uYWxJZAAQVmVyc2lvbgAAAAAACUxhc3RXcml0ZQBhvybbi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IBAwAAAAMA////////DgAGTGlua0RhdGFMaXN0XzEEAAAAAQAFAAAAAgAFAAAABAA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48485133459862"/>
  <p:tag name="EMPOWERCHARTSPROPERTIES_B_LENGTH" val="24576"/>
  <p:tag name="DOWN_MIGRATION_INITIAL_LAYOUT_REQUIRED" val="9.2.99"/>
  <p:tag name="RUNTIME_ID" val="a7d6c18f-8946-42a6-a635-97bfcca4380b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zgsAAAAAAAAAAAAAIAD///////////////8AAAD///////////////8DAAAABAD///////8DAAAABA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3uKL3EiudhDjS3FiWxRYrUEAAAAAAADAAAABAADAAAAAwADAAAABAADAAAAAwADAAUA////////BQAAAAMAEAALjCTWcsQ97EmCb9UXY1FHjgQAAAABAAMAAAACAAMAAAABAAMAAAACAP///////wMAAAAAAP///////wMAAAAAAP///////wMAAAAAAP///////wQAAgD///////8FAAAABAAQAAvF7NtZXQ/IQqWPRoeyfiOH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e4ovcSK52EONLcWJbFFitQREYXRhAAUAAAAAAk5hbWUADQAAAExpbmtEYXRhTGlzdAAQVmVyc2lvbgAAAAAACUxhc3RXcml0ZQD7U5oRkAEAAAABAP////9hAGEAAAAFX2lkABAAAAAEjCTWcsQ97EmCb9UXY1FHjgREYXRhAAUAAAAAAk5hbWUADQAAAExpbmtEYXRhTGlzdAAQVmVyc2lvbgABAAAACUxhc3RXcml0ZQAFVJoRkAEAAAACAP////9wAHAAAAAFX2lkABAAAAAExezbWV0PyEKlj0aHsn4jhwNEYXRhABYAAAACUGVyc29uYWxJZAABAAAAAAACTmFtZQALAAAAUGVyc29uYWxJZAAQVmVyc2lvbgAAAAAACUxhc3RXcml0ZQAfVJoR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UBAwAAAAMA////////DgAGTGlua0RhdGFMaXN0XzEEAAAAAQAFAAAAAgAFAAAABAAFAAAAAgD///////8FAAAAAAD///////8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38790451786665"/>
  <p:tag name="EMPOWERCHARTSPROPERTIES_B_LENGTH" val="24576"/>
  <p:tag name="DOWN_MIGRATION_INITIAL_LAYOUT_REQUIRED" val="9.2.99"/>
  <p:tag name="RUNTIME_ID" val="43901945-5e3d-459c-b2b8-b1dabb92086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3s4S7nohlGoEQe54uCDoQEAAAAAAADAAAABAADAAAAAwADAAEA////////BQAAAAMAEAALBy3fentu3kiHR9dDjl+ejwQAAAABAAMAAAACAAMAAAABAAQAAgD///////8FAAAABAAQAAslQT0MsfLVRrGHY3a/inY5BAAAAAIAAwAAAAAAAwAAAAI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HezhLueiGUagRB7ni4IOhAREYXRhAAUAAAAAAk5hbWUADQAAAExpbmtEYXRhTGlzdAAQVmVyc2lvbgABAAAACUxhc3RXcml0ZQBiVJoRkAEAAAABAP////9hAGEAAAAFX2lkABAAAAAEBy3fentu3kiHR9dDjl+ejwREYXRhAAUAAAAAAk5hbWUADQAAAExpbmtEYXRhTGlzdAAQVmVyc2lvbgAAAAAACUxhc3RXcml0ZQBZVJoRkAEAAAACAP////9wAHAAAAAFX2lkABAAAAAEJUE9DLHy1Uaxh2N2v4p2OQNEYXRhABYAAAACUGVyc29uYWxJZAABAAAAAAACTmFtZQALAAAAUGVyc29uYWxJZAAQVmVyc2lvbgAAAAAACUxhc3RXcml0ZQB6VJoR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38790452687782"/>
  <p:tag name="EMPOWERCHARTSPROPERTIES_B_LENGTH" val="24576"/>
  <p:tag name="DOWN_MIGRATION_INITIAL_LAYOUT_REQUIRED" val="9.2.99"/>
  <p:tag name="RUNTIME_ID" val="6825599f-33f2-4a99-9c86-2eb2addf8b0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UBAQEBAQEBAQEBAQEBAQMAAAAAAAAAAwAAAAMAAAAA/////wUA8gsAAAAAAAAAAAAAIAD///////////////8AAAD///////////////8DAAAABA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8/H+kXGR9pKvbmuXE7Z7bUEAAAAAAADAAAABAADAAAAAwADAAQA////////BQAAAAMAEAALDGF25Aryakuwj4hJ1L5TDgQAAAABAAMAAAACAAMAAAABAAMAAAAAAP///////wMAAAAAAP///////wMAAAAAAP///////wQAAQD///////8FAAAABAAQAAudBPgpCqExTZeuHla2uY4U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z8f6RcZH2kq9ua5cTtnttQREYXRhAAUAAAAAAk5hbWUADQAAAExpbmtEYXRhTGlzdAAQVmVyc2lvbgAAAAAACUxhc3RXcml0ZQDyd3OfkgEAAAABAP////9hAGEAAAAFX2lkABAAAAAEDGF25Aryakuwj4hJ1L5TDgREYXRhAAUAAAAAAk5hbWUADQAAAExpbmtEYXRhTGlzdAAQVmVyc2lvbgABAAAACUxhc3RXcml0ZQD2d3OfkgEAAAACAP////9wAHAAAAAFX2lkABAAAAAEnQT4KQqhMU2Xrh5WtrmOFANEYXRhABYAAAACUGVyc29uYWxJZAABAAAAAAACTmFtZQALAAAAUGVyc29uYWxJZAAQVmVyc2lvbgAAAAAACUxhc3RXcml0ZQAUeHOf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KCwAAAAAAAAAAAAAgAf///////////////wAAAP///////////////wUAAAACAP///////wUAAAADAP///////wUAAAADAP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QBAwAAAAMA////////DgAGTGlua0RhdGFMaXN0XzEEAAAAAQAFAAAAAgAFAAAABAAFAAAAAAAFAAAABAAFAAAAAAAFAAAABAAFAAAAAAAFAAAABAAEAAUBAwAAAAQA////////DAAGUGVyc29uYWxJZF8wBAAAAAIABQAAAAMABQAAAAEABQAAAAMA////////BQAAAAMA////////BQAAAAM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48487977443323"/>
  <p:tag name="EMPOWERCHARTSPROPERTIES_B_LENGTH" val="24576"/>
  <p:tag name="DOWN_MIGRATION_INITIAL_LAYOUT_REQUIRED" val="9.2.99"/>
  <p:tag name="RUNTIME_ID" val="63c768c5-8ed5-4d41-8a4e-6337655e084b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zOstpZrQiRBjkgeJhA+bYcEAAAAAAADAAAAAAADAAAABAADAAAAAAD///////8DAAEA////////BQAAAAMAEAAL6kNEztuFiEiVUoWsAyTivgQAAAABAAMAAAAEAAMAAAABAAQAAQD///////8FAAAABAAQAAsNam/K/79lQZV1WKDBf1/L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6y2lmtCJEGOSB4mED5thwREYXRhAAUAAAAAAk5hbWUADQAAAExpbmtEYXRhTGlzdAAQVmVyc2lvbgAAAAAACUxhc3RXcml0ZQA+eHOfkgEAAAABAP////9hAGEAAAAFX2lkABAAAAAE6kNEztuFiEiVUoWsAyTivgREYXRhAAUAAAAAAk5hbWUADQAAAExpbmtEYXRhTGlzdAAQVmVyc2lvbgABAAAACUxhc3RXcml0ZQBAeHOfkgEAAAACAP////9wAHAAAAAFX2lkABAAAAAEDWpvyv+/ZUGVdVigwX9fywNEYXRhABYAAAACUGVyc29uYWxJZAABAAAAAAACTmFtZQALAAAAUGVyc29uYWxJZAAQVmVyc2lvbgAAAAAACUxhc3RXcml0ZQBeeHOf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48487978191336"/>
  <p:tag name="EMPOWERCHARTSPROPERTIES_B_LENGTH" val="24576"/>
  <p:tag name="DOWN_MIGRATION_INITIAL_LAYOUT_REQUIRED" val="9.2.99"/>
  <p:tag name="RUNTIME_ID" val="5ddc6c3c-dd27-4c60-817c-bca55d63774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7ede2f0-8988-43ec-80b2-6943eca6339b"/>
  <p:tag name="MIO_CONTENTTAG" val="25qH1vu39EG0jDuv/HNGgw=="/>
  <p:tag name="MIO_EKGUID" val="ae157abf-2f94-4918-949c-9878ece5514c"/>
  <p:tag name="MIO_UPDATE" val="True"/>
  <p:tag name="MIO_VERSION" val="29.07.2025 09:33:20"/>
  <p:tag name="MIO_DBID" val="b8fcb12d-af03-49eb-9f79-bb019be99e1e"/>
  <p:tag name="MIO_LASTDOWNLOADED" val="19.08.2025 11:07:04"/>
  <p:tag name="MIO_OBJECTNAME" val="empower tools that can help with branding | 1 of 4"/>
  <p:tag name="MIO_LASTEDITORNAME" val="Georgina DEM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gBAQEBAQEBAQEBAQEBAQMAAAAAAAAAAwAAAAMAAAAA/////wUAqgsAAAAAAAAAAAAAIAD///////////////8AAAD///////////////8DAAAAAgD///////8DAAAAAgD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IAP///////wUAAAACABAAC6wHwE9jg+FEpHAavQAr4lcEAAAAAAADAAAAAAADAAAABAADAAAAAAADAAAAAwADAAAAAAADAAAAAwADAAAAAAD///////8DAAAAAAD///////8DAAAAAAD///////8DAAAAAAD///////8DAAAAAAD///////8DAAMA////////BQAAAAMAEAALDfz/5gyS2E+Gdu7j6DPHHgQAAAABAAMAAAAEAAMAAAABAAMAAAACAP///////wMAAAACAP///////wQAAQD///////8FAAAABAAQAAu2Lxizp++4TJ4TM3QrQC9n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AfAT2OD4USkcBq9ACviVwREYXRhAAUAAAAAAk5hbWUADQAAAExpbmtEYXRhTGlzdAAQVmVyc2lvbgABAAAACUxhc3RXcml0ZQCjWV7XkQEAAAABAP////9hAGEAAAAFX2lkABAAAAAEDfz/5gyS2E+Gdu7j6DPHHgREYXRhAAUAAAAAAk5hbWUADQAAAExpbmtEYXRhTGlzdAAQVmVyc2lvbgAAAAAACUxhc3RXcml0ZQCiWV7XkQEAAAACAP////9wAHAAAAAFX2lkABAAAAAEti8Ys6fvuEyeEzN0K0AvZwNEYXRhABYAAAACUGVyc29uYWxJZAABAAAAAAACTmFtZQALAAAAUGVyc29uYWxJZAAQVmVyc2lvbgAAAAAACUxhc3RXcml0ZQDHWV7X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aCwAAAAAAAAAAAAAgAf///////////////wAAAP///////////////wUAAAADAP///////wUAAAADAP///////wUAAAADAP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gBAwAAAAIA////////DgAGTGlua0RhdGFMaXN0XzEEAAAAAAAFAAAAAwAFAAAABAAFAAAAAwAFAAAABAAFAAAAAwAFAAAABAAFAAAAAAD///////8FAAAAAAD///////8FAAAAAAD///////8FAAAAAAD///////8FAAAAAAD///////8DAAMBAwAAAAMA////////DgAGTGlua0RhdGFMaXN0XzAEAAAAAQAFAAAAAAAFAAAAAgAFAAAAAAAFAAAAAgAFAAAAAAAFAAAAAgAEAAMBAwAAAAQA////////DAAGUGVyc29uYWxJZF8wBAAAAAIABQAAAAIABQAAAAEABQAAAAIA////////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4919705325503"/>
  <p:tag name="EMPOWERCHARTSPROPERTIES_B_LENGTH" val="24576"/>
  <p:tag name="DOWN_MIGRATION_INITIAL_LAYOUT_REQUIRED" val="9.2.99"/>
  <p:tag name="RUNTIME_ID" val="1a2fa432-3850-4116-b4ca-2340a9fe979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2gsAAAAAAAAAAAAAIAD///////////////8AAAD///////////////8DAAAAAgD///////8DAAAAAgD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6/i7zLzERtGhwS02DtJ9PUEAAAAAAADAAAAAAADAAAAAwADAAAAAAADAAAABAADAAAAAAADAAAABAADAAEA////////BQAAAAMAEAALi8NinX7BkU+Q+M4iKhkBHQQAAAABAAMAAAACAAMAAAAEAAQABAD///////8FAAAABAAQAAuSk+KnxpxYT7NP1jUWkgyEBAAAAAIAAwAAAAMAAwAAAAEAAwAAAAIA////////AwAAAAI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+LvMvMRG0aHBLTYO0n09QREYXRhAAUAAAAAAk5hbWUADQAAAExpbmtEYXRhTGlzdAAQVmVyc2lvbgABAAAACUxhc3RXcml0ZQDH2F7XkQEAAAABAP////9wAHAAAAAFX2lkABAAAAAEi8NinX7BkU+Q+M4iKhkBHQNEYXRhABYAAAACUGVyc29uYWxJZAABAAAAAAACTmFtZQALAAAAUGVyc29uYWxJZAAQVmVyc2lvbgAAAAAACUxhc3RXcml0ZQBv16XkiQEAAAACAP////9hAGEAAAAFX2lkABAAAAAEkpPip8acWE+zT9Y1FpIMhAREYXRhAAUAAAAAAk5hbWUADQAAAExpbmtEYXRhTGlzdAAQVmVyc2lvbgAAAAAACUxhc3RXcml0ZQDG2F7X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E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BAAFAAAAAwAFAAAABAD///////8FAAAABAD///////8DAAEBAwAAAAMA////////DAAGUGVyc29uYWxJZF8wBAAAAAEABQAAAAIABQAAAAEABAAEAQMAAAAEAP///////w4ABkxpbmtEYXRhTGlzdF8wBAAAAAIABQAAAAAABQAAAAIABQAAAAAABQAAAAIABQAAAAAABQAAAAI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4920030400670"/>
  <p:tag name="EMPOWERCHARTSPROPERTIES_B_LENGTH" val="24576"/>
  <p:tag name="DOWN_MIGRATION_INITIAL_LAYOUT_REQUIRED" val="9.2.99"/>
  <p:tag name="RUNTIME_ID" val="d7c822f5-416a-425a-8b0b-0c024dc48fa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77rQxMX5BFOk4DkusvKymUEAAAAAAADAAAAAAADAAAAAwADAAIA////////BQAAAAMAEAAL5F7zVjS+8UaMsKQSLeOJVQQAAAABAAMAAAACAAMAAAAEAAMAAAAAAP///////wQAAQD///////8FAAAABAAQAAtHXxrn/IYbRI7t+vnX7F/2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utDExfkEU6TgOS6y8rKZQREYXRhAAUAAAAAAk5hbWUADQAAAExpbmtEYXRhTGlzdAAQVmVyc2lvbgABAAAACUxhc3RXcml0ZQBzP+8+jwEAAAABAP////9hAGEAAAAFX2lkABAAAAAE5F7zVjS+8UaMsKQSLeOJVQREYXRhAAUAAAAAAk5hbWUADQAAAExpbmtEYXRhTGlzdAAQVmVyc2lvbgAAAAAACUxhc3RXcml0ZQBwP+8+jwEAAAACAP////9wAHAAAAAFX2lkABAAAAAER18a5/yGG0SO7fr51+xf9gNEYXRhABYAAAACUGVyc29uYWxJZAABAAAAAAACTmFtZQALAAAAUGVyc29uYWxJZAAQVmVyc2lvbgAAAAAACUxhc3RXcml0ZQCLP+8+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03446178895955"/>
  <p:tag name="EMPOWERCHARTSPROPERTIES_B_LENGTH" val="24576"/>
  <p:tag name="DOWN_MIGRATION_INITIAL_LAYOUT_REQUIRED" val="9.2.99"/>
  <p:tag name="RUNTIME_ID" val="f06e3359-8379-47b6-9c22-633911c3113f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AwBAQEBAQEBAQEBAQEBAQMAAAAAAAAAAwAAAAMAAAAA/////wUAhgsAAAAAAAAAAAAAIAD///////////////8AAAD///////////////8DAAAAAgD///////8DAAAAAwD///////8DAAAAAwD///////8DAAAAAwD///////8DAAAAAwD///////8DAAAAAwD///////8DAAAAAwD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6cjuW/0ZGRHnYGpcYlmfHMEAAAAAAADAAAAAAADAAAAAwADAAwA////////BQAAAAMAEAALATvmeftxJU2CXdwgO9SjcQQAAAABAAMAAAACAAMAAAAEAAMAAAAAAAMAAAAEAAMAAAAAAP///////wMAAAAAAP///////wMAAAAAAP///////wMAAAAAAP///////wMAAAAAAP///////wMAAAAAAP///////wMAAAAAAP///////wMAAAAAAP///////wMAAAAAAP///////wMAAAAAAP///////wQAAgD///////8FAAAABAAQAAs5B7rdTZ8iSp/E2+8I4ghK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pyO5b/RkZEedgalxiWZ8cwREYXRhAAUAAAAAAk5hbWUADQAAAExpbmtEYXRhTGlzdAAQVmVyc2lvbgABAAAACUxhc3RXcml0ZQCj217XkQEAAAABAP////9wAHAAAAAFX2lkABAAAAAEATvmeftxJU2CXdwgO9SjcQNEYXRhABYAAAACUGVyc29uYWxJZAABAAAAAAACTmFtZQALAAAAUGVyc29uYWxJZAAQVmVyc2lvbgAAAAAACUxhc3RXcml0ZQCB0aXkiQEAAAACAP////9hAGEAAAAFX2lkABAAAAAEOQe63U2fIkqfxNvvCOIISgREYXRhAAUAAAAAAk5hbWUADQAAAExpbmtEYXRhTGlzdAAQVmVyc2lvbgAAAAAACUxhc3RXcml0ZQCj217X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OCwAAAAAAAAAAAAAgAf///////////////wAAAP///////////////wUAAAAEAP///////wUAAAAEAP///////wUAAAADAP///////wUAAAADAP///////wUAAAADAP///////wUAAAADAP///////wUAAAADAP///////wUAAAAD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BAAFAAAAAwADAAwBAwAAAAMA////////DAAGUGVyc29uYWxJZF8wBAAAAAEABQAAAAIABQAAAAEABQAAAAQA////////BQAAAAAA////////BQAAAAAA////////BQAAAAAA////////BQAAAAAA////////BQAAAAAA////////BQAAAAAA////////BQAAAAAA////////BQAAAAAA////////BQAAAAAA////////BQAAAAAA////////BAACAQMAAAAEAP///////w4ABkxpbmtEYXRhTGlzdF8wBAAAAAIABQAAAAAABQAAAAIABQAAAAA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4920037781267"/>
  <p:tag name="EMPOWERCHARTSPROPERTIES_B_LENGTH" val="24576"/>
  <p:tag name="DOWN_MIGRATION_INITIAL_LAYOUT_REQUIRED" val="9.2.99"/>
  <p:tag name="RUNTIME_ID" val="e64d5c58-97f8-486c-ae11-e9a233eec3a3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5y8WV+SGyZAgPsOI1JiBK0EAAAAAAADAAAAAAADAAAAAwADAAEA////////BQAAAAMAEAALhE6sYiX7fkGP6mxdm16+7gQAAAABAAMAAAACAAMAAAAEAAQAAQD///////8FAAAABAAQAAszMa7ipdgZRJuf3W/boZm3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nLxZX5IbJkCA+w4jUmIErQREYXRhAAUAAAAAAk5hbWUADQAAAExpbmtEYXRhTGlzdAAQVmVyc2lvbgAAAAAACUxhc3RXcml0ZQDg2l7XkQEAAAABAP////9hAGEAAAAFX2lkABAAAAAEhE6sYiX7fkGP6mxdm16+7gREYXRhAAUAAAAAAk5hbWUADQAAAExpbmtEYXRhTGlzdAAQVmVyc2lvbgABAAAACUxhc3RXcml0ZQDi2l7XkQEAAAACAP////9wAHAAAAAFX2lkABAAAAAEMzGu4qXYGUSbn91v26GZtwNEYXRhABYAAAACUGVyc29uYWxJZAABAAAAAAACTmFtZQALAAAAUGVyc29uYWxJZAAQVmVyc2lvbgAAAAAACUxhc3RXcml0ZQBOyaXki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4920035917583"/>
  <p:tag name="EMPOWERCHARTSPROPERTIES_B_LENGTH" val="24576"/>
  <p:tag name="DOWN_MIGRATION_INITIAL_LAYOUT_REQUIRED" val="9.2.99"/>
  <p:tag name="RUNTIME_ID" val="1a029d57-2c5f-4294-b4b9-9dd62bcb475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27AUBjDc89CuykpYPRuDu4EAAAAAAADAAAAAAADAAAAAwADAAAAAAADAAAAAwADAAIA////////BQAAAAMAEAALp+ZdclIuCk6u+mNYSeQsMAQAAAABAAMAAAACAAMAAAAEAAMAAAACAP///////wQAAQD///////8FAAAABAAQAAs2zPjmT5m0TKNmDC7bBfA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bsBQGMNzz0K7KSlg9G4O7gREYXRhAAUAAAAAAk5hbWUADQAAAExpbmtEYXRhTGlzdAAQVmVyc2lvbgAAAAAACUxhc3RXcml0ZQBJ217XkQEAAAABAP////9hAGEAAAAFX2lkABAAAAAEp+ZdclIuCk6u+mNYSeQsMAREYXRhAAUAAAAAAk5hbWUADQAAAExpbmtEYXRhTGlzdAAQVmVyc2lvbgABAAAACUxhc3RXcml0ZQBK217XkQEAAAACAP////9wAHAAAAAFX2lkABAAAAAENsz45k+ZtEyjZgwu2wXwJQNEYXRhABYAAAACUGVyc29uYWxJZAABAAAAAAACTmFtZQALAAAAUGVyc29uYWxJZAAQVmVyc2lvbgAAAAAACUxhc3RXcml0ZQBI0aXki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IBAwAAAAMA////////DgAGTGlua0RhdGFMaXN0XzEEAAAAAQAFAAAAAgAFAAAABAAFAAAAAg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4920036847788"/>
  <p:tag name="EMPOWERCHARTSPROPERTIES_B_LENGTH" val="24576"/>
  <p:tag name="DOWN_MIGRATION_INITIAL_LAYOUT_REQUIRED" val="9.2.99"/>
  <p:tag name="RUNTIME_ID" val="261251fd-b56a-4918-b0f5-24560ab18c4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Ag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6GSBQECPahOrDHZZ7G9qFcEAAAAAAADAAAAAAADAAAAAwADAAEA////////BQAAAAMAEAALp7t3iv6vdEGQllA0MFE88QQAAAABAAMAAAACAAMAAAAEAAQAAwD///////8FAAAABAAQAAtsIAD9VC3sRZFhx9/RxrK/BAAAAAIAAwAAAAMAAwAAAAEA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oZIFAQI9qE6sMdlnsb2oVwREYXRhAAUAAAAAAk5hbWUADQAAAExpbmtEYXRhTGlzdAAQVmVyc2lvbgABAAAACUxhc3RXcml0ZQCPyV7XkQEAAAABAP////9wAHAAAAAFX2lkABAAAAAEp7t3iv6vdEGQllA0MFE88QNEYXRhABYAAAACUGVyc29uYWxJZAABAAAAAAACTmFtZQALAAAAUGVyc29uYWxJZAAQVmVyc2lvbgAAAAAACUxhc3RXcml0ZQCIyaXkiQEAAAACAP////9hAGEAAAAFX2lkABAAAAAEbCAA/VQt7EWRYcff0cayvwREYXRhAAUAAAAAAk5hbWUADQAAAExpbmtEYXRhTGlzdAAQVmVyc2lvbgAAAAAACUxhc3RXcml0ZQASyV7X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BAAFAAAAAwADAAEBAwAAAAMA////////DAAGUGVyc29uYWxJZF8wBAAAAAEABQAAAAIABQAAAAEABAADAQMAAAAEAP///////w4ABkxpbmtEYXRhTGlzdF8wBAAAAAIABQAAAAAABQAAAAI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4919991672942"/>
  <p:tag name="EMPOWERCHARTSPROPERTIES_B_LENGTH" val="24576"/>
  <p:tag name="DOWN_MIGRATION_INITIAL_LAYOUT_REQUIRED" val="9.2.99"/>
  <p:tag name="RUNTIME_ID" val="277b5ead-a6f4-43dd-b276-a9559fb2b849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qgsAAAAAAAAAAAAAIAD///////////////8AAAD///////////////8DAAAABAD///////8DAAAABA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UAAAACABAAC2Ogwj9TZt5FpNGsR/WVcAsEAAAAAAADAAAABAADAAAAAwADAAAABAADAAAAAwADAAAAAAADAAAAAwADAAAAAAADAAAAAwADAAAAAAADAAAAAwADAAUA////////BQAAAAMAEAALCntnb4+An0miBB25ozw3GgQAAAABAAMAAAACAAMAAAABAAMAAAACAP///////wMAAAACAP///////wMAAAACAP///////wMAAAACAP///////wQAAgD///////8FAAAABAAQAAtsNwEuBC15TYfK7Xifbjyu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6DCP1Nm3kWk0axH9ZVwCwREYXRhAAUAAAAAAk5hbWUADQAAAExpbmtEYXRhTGlzdAAQVmVyc2lvbgABAAAACUxhc3RXcml0ZQAlksHrkQEAAAABAP////9hAGEAAAAFX2lkABAAAAAECntnb4+An0miBB25ozw3GgREYXRhAAUAAAAAAk5hbWUADQAAAExpbmtEYXRhTGlzdAAQVmVyc2lvbgAAAAAACUxhc3RXcml0ZQAlksHrkQEAAAACAP////9wAHAAAAAFX2lkABAAAAAEbDcBLgQteU2Hyu14n248rgNEYXRhABYAAAACUGVyc29uYWxJZAABAAAAAAACTmFtZQALAAAAUGVyc29uYWxJZAAQVmVyc2lvbgAAAAAACUxhc3RXcml0ZQA6ksHr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yCwAAAAAAAAAAAAAgAf///////////////wAAAP///////////////wUAAAAD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UBAwAAAAIA////////DgAGTGlua0RhdGFMaXN0XzEEAAAAAAAFAAAAAwAFAAAABAAFAAAAAwAFAAAABAAFAAAAAwD///////8FAAAAAwD///////8FAAAAAwD///////8DAAUBAwAAAAMA////////DgAGTGlua0RhdGFMaXN0XzAEAAAAAQAFAAAAAAAFAAAAAgAFAAAAAAAFAAAAAgAFAAAAAAAFAAAAAgAFAAAAAAAFAAAAAg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8340173591370"/>
  <p:tag name="EMPOWERCHARTSPROPERTIES_B_LENGTH" val="24576"/>
  <p:tag name="DOWN_MIGRATION_INITIAL_LAYOUT_REQUIRED" val="9.2.99"/>
  <p:tag name="RUNTIME_ID" val="cca5e4e9-853f-4996-b094-303bac83545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QBAQEBAQEBAQEBAQEBAQMAAAAAAAAAAwAAAAMAAAAA/////wUAqgsAAAAAAAAAAAAAIAD///////////////8AAAD///////////////8DAAAAAgD///////8DAAAAAgD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1EC8TiJ9xpFuJOKdfxhmjIEAAAAAAADAAAAAAADAAAABAADAAAAAAADAAAABAADAAQA////////BQAAAAMAEAALlPUjl8fYtkG2KR1uljpMjQQAAAABAAMAAAAEAAMAAAABAAMAAAAEAP///////wMAAAAEAP///////wMAAAAEAP///////wQABgD///////8FAAAABAAQAAscCWxhHNvQQLTTsIPqKdyyBAAAAAIAAwAAAAIAAwAAAAMAAwAAAAIAAwAAAAMAAwAAAAAAAwAAAAMAAwAAAAAAAwAAAAMA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UQLxOIn3GkW4k4p1/GGaMgREYXRhAAUAAAAAAk5hbWUADQAAAExpbmtEYXRhTGlzdAAQVmVyc2lvbgAAAAAACUxhc3RXcml0ZQCMkMHrkQEAAAABAP////9hAGEAAAAFX2lkABAAAAAElPUjl8fYtkG2KR1uljpMjQREYXRhAAUAAAAAAk5hbWUADQAAAExpbmtEYXRhTGlzdAAQVmVyc2lvbgABAAAACUxhc3RXcml0ZQCNkMHrkQEAAAACAP////9wAHAAAAAFX2lkABAAAAAEHAlsYRzb0EC007CD6incsgNEYXRhABYAAAACUGVyc29uYWxJZAABAAAAAAACTmFtZQALAAAAUGVyc29uYWxJZAAQVmVyc2lvbgAAAAAACUxhc3RXcml0ZQC1kMHr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QBAwAAAAMA////////DgAGTGlua0RhdGFMaXN0XzEEAAAAAQAFAAAAAgAFAAAABAAFAAAAAgAFAAAABAAFAAAAAAD///////8FAAAAAAD///////8EAAIBAwAAAAQA////////DAAGUGVyc29uYWxJZF8wBAAAAAIABQAAAAM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8340169690810"/>
  <p:tag name="EMPOWERCHARTSPROPERTIES_B_LENGTH" val="24576"/>
  <p:tag name="DOWN_MIGRATION_INITIAL_LAYOUT_REQUIRED" val="9.2.99"/>
  <p:tag name="RUNTIME_ID" val="a2b6f80d-429f-411f-87ac-95926f5048f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MAAAAAAAAAAwAAAAMAAAAA/////wUA/gsAAAAAAAAAAAAAIAD///////////////8AAAD///////////////8DAAAABA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2XQSLt2agNPuM3lvYwefBIEAAAAAAADAAAABAADAAAAAwADAAAAAAD///////8DAAAAAAD///////8DAAEA////////BQAAAAMAEAALjZ5p+21QkEe++Q73ztXq/gQAAAABAAMAAAACAAMAAAABAAQAAQD///////8FAAAABAAQAAsSjIOXJyZ8SZVq713c+8R/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ZdBIu3ZqA0+4zeW9jB58EgREYXRhAAUAAAAAAk5hbWUADQAAAExpbmtEYXRhTGlzdAAQVmVyc2lvbgABAAAACUxhc3RXcml0ZQDakMHrkQEAAAABAP////9hAGEAAAAFX2lkABAAAAAEjZ5p+21QkEe++Q73ztXq/gREYXRhAAUAAAAAAk5hbWUADQAAAExpbmtEYXRhTGlzdAAQVmVyc2lvbgAAAAAACUxhc3RXcml0ZQDZkMHrkQEAAAACAP////9wAHAAAAAFX2lkABAAAAAEEoyDlycmfEmVau9d3PvEfwNEYXRhABYAAAACUGVyc29uYWxJZAABAAAAAAACTmFtZQALAAAAUGVyc29uYWxJZAAQVmVyc2lvbgAAAAAACUxhc3RXcml0ZQDxkMHr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KCwAAAAAAAAAAAAAgAf///////////////wAAAP///////////////wUAAAADAP///////wUAAAACAP///////wUAAAAC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AFAAAABAADAAEBAwAAAAMA////////DgAGTGlua0RhdGFMaXN0XzAEAAAAAQAFAAAAAAAFAAAAAgAEAAYBAwAAAAQA////////DAAGUGVyc29uYWxJZF8wBAAAAAIABQAAAAIABQAAAAEABQAAAAIA////////BQAAAAIA////////BQAAAAA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8340170279159"/>
  <p:tag name="EMPOWERCHARTSPROPERTIES_B_LENGTH" val="24576"/>
  <p:tag name="DOWN_MIGRATION_INITIAL_LAYOUT_REQUIRED" val="9.2.99"/>
  <p:tag name="RUNTIME_ID" val="eda304c0-9e96-47de-b7e1-fef0a5d5ae3c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/////wUACgwAAAAAAAAAAAAAIAD///////////////8AAAD////////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wq0TCom1IRKiTSxBcEYK88EAAAAAAADAAAABAADAAAAAwADAAEA////////BQAAAAMAEAALBDRzmHZPXE2Sz6CxAZ2wSQQAAAABAAMAAAACAAMAAAABAAQAAgD///////8FAAAABAAQAAsbEXIVopZpSJAiny9WDF3ABAAAAAIAAwAAAAAAAwAAAAI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CrRMKibUhEqJNLEFwRgrzwREYXRhAAUAAAAAAk5hbWUADQAAAExpbmtEYXRhTGlzdAAQVmVyc2lvbgAAAAAACUxhc3RXcml0ZQAYkcHrkQEAAAABAP////9hAGEAAAAFX2lkABAAAAAEBDRzmHZPXE2Sz6CxAZ2wSQREYXRhAAUAAAAAAk5hbWUADQAAAExpbmtEYXRhTGlzdAAQVmVyc2lvbgABAAAACUxhc3RXcml0ZQAZkcHrkQEAAAACAP////9wAHAAAAAFX2lkABAAAAAEGxFyFaKWaUiQIp8vVgxdwANEYXRhABYAAAACUGVyc29uYWxJZAABAAAAAAACTmFtZQALAAAAUGVyc29uYWxJZAAQVmVyc2lvbgAAAAAACUxhc3RXcml0ZQA3kcHr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QBAwAAAAQA////////DAAGUGVyc29uYWxJZF8wBAAAAAIABQAAAAMABQAAAAEABQAAAAA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8340170976212"/>
  <p:tag name="EMPOWERCHARTSPROPERTIES_B_LENGTH" val="24576"/>
  <p:tag name="DOWN_MIGRATION_INITIAL_LAYOUT_REQUIRED" val="9.2.99"/>
  <p:tag name="RUNTIME_ID" val="941b37ea-3cfe-4795-bab5-4a35d43058a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/////wUAFgwAAAAAAAAAAAAAIAD///////////////8AAAD////////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0Rk5IDqhVVGu9TYtBbl8GwEAAAAAAADAAAABAADAAAAAwADAAEA////////BQAAAAMAEAALC7Chjaz/5EG/ZHAng9mp+AQAAAABAAMAAAACAAMAAAABAAQAAQD///////8FAAAABAAQAAseL1YxDdd+Q5ZmNekgoXtU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GTkgOqFVUa71Ni0FuXwbAREYXRhAAUAAAAAAk5hbWUADQAAAExpbmtEYXRhTGlzdAAQVmVyc2lvbgABAAAACUxhc3RXcml0ZQBZkcHrkQEAAAABAP////9hAGEAAAAFX2lkABAAAAAEC7Chjaz/5EG/ZHAng9mp+AREYXRhAAUAAAAAAk5hbWUADQAAAExpbmtEYXRhTGlzdAAQVmVyc2lvbgAAAAAACUxhc3RXcml0ZQBZkcHrkQEAAAACAP////9wAHAAAAAFX2lkABAAAAAEHi9WMQ3XfkOWZjXpIKF7VANEYXRhABYAAAACUGVyc29uYWxJZAABAAAAAAACTmFtZQALAAAAUGVyc29uYWxJZAAQVmVyc2lvbgAAAAAACUxhc3RXcml0ZQBskcHr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IBAwAAAAQA////////DAAGUGVyc29uYWxJZF8wBAAAAAIABQAAAAIABQAAAAE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8340171543522"/>
  <p:tag name="EMPOWERCHARTSPROPERTIES_B_LENGTH" val="24576"/>
  <p:tag name="DOWN_MIGRATION_INITIAL_LAYOUT_REQUIRED" val="9.2.99"/>
  <p:tag name="RUNTIME_ID" val="cdf1f847-f4b7-42cf-88cb-c32bb01b3db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MBAQEBAQEBAQEBAQEBAQMAAAAAAAAAAwAAAAMAAAAA/////wUAzgsAAAAAAAAAAAAAIAD///////////////8AAAD///////////////8DAAAABAD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sbIyPyvwZEgSXTuJSh5o8EAAAAAAADAAAABAADAAAAAwADAAMA////////BQAAAAMAEAALtwGsXb9ocEaPURHW5AekfQQAAAABAAMAAAACAAMAAAABAAMAAAAEAP///////wMAAAAEAP///////wQABQD///////8FAAAABAAQAAvkQ/0UcllZQ4OWiKOuvX+gBAAAAAIAAwAAAAAAAwAAAAIAAwAAAAAAAwAAAAMAAwAAAAAAAwAAAAMA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xsjI/K/BkSBJdO4lKHmjwREYXRhAAUAAAAAAk5hbWUADQAAAExpbmtEYXRhTGlzdAAQVmVyc2lvbgABAAAACUxhc3RXcml0ZQCokcHrkQEAAAABAP////9hAGEAAAAFX2lkABAAAAAEtwGsXb9ocEaPURHW5AekfQREYXRhAAUAAAAAAk5hbWUADQAAAExpbmtEYXRhTGlzdAAQVmVyc2lvbgAAAAAACUxhc3RXcml0ZQCUkcHrkQEAAAACAP////9wAHAAAAAFX2lkABAAAAAE5EP9FHJZWUODloijrr1/oANEYXRhABYAAAACUGVyc29uYWxJZAABAAAAAAACTmFtZQALAAAAUGVyc29uYWxJZAAQVmVyc2lvbgAAAAAACUxhc3RXcml0ZQC9kcHr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MBAwAAAAMA////////DgAGTGlua0RhdGFMaXN0XzAEAAAAAQAFAAAAAAAFAAAAAgAFAAAAAAD///////8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8340172343667"/>
  <p:tag name="EMPOWERCHARTSPROPERTIES_B_LENGTH" val="24576"/>
  <p:tag name="DOWN_MIGRATION_INITIAL_LAYOUT_REQUIRED" val="9.2.99"/>
  <p:tag name="RUNTIME_ID" val="ae590e11-a3f3-4576-90fc-efb21d94847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/////wUA8gsAAAAAAAAAAAAAIAD///////////////8AAAD///////////////8DAAAAAgD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6p8BxkJPNROm++MrWxG2x0EAAAAAAADAAAAAAADAAAAAwADAAAAAAADAAAABAADAAEA////////BQAAAAMAEAALbb8qnUzDUUq6DAPDe4SgQgQAAAABAAMAAAACAAMAAAAEAAQAAwD///////8FAAAABAAQAAsqSRf6XAuLRIYsHm4wm6XPBAAAAAIAAwAAAAMAAwAAAAEAAwAAAAI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qnwHGQk81E6b74ytbEbbHQREYXRhAAUAAAAAAk5hbWUADQAAAExpbmtEYXRhTGlzdAAQVmVyc2lvbgAAAAAACUxhc3RXcml0ZQBJx/qfjwEAAAABAP////9hAGEAAAAFX2lkABAAAAAEbb8qnUzDUUq6DAPDe4SgQgREYXRhAAUAAAAAAk5hbWUADQAAAExpbmtEYXRhTGlzdAAQVmVyc2lvbgABAAAACUxhc3RXcml0ZQBKx/qfjwEAAAACAP////9wAHAAAAAFX2lkABAAAAAEKkkX+lwLi0SGLB5uMJulzwNEYXRhABYAAAACUGVyc29uYWxJZAABAAAAAAACTmFtZQALAAAAUGVyc29uYWxJZAAQVmVyc2lvbgAAAAAACUxhc3RXcml0ZQBnx/qf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19727635159092"/>
  <p:tag name="EMPOWERCHARTSPROPERTIES_B_LENGTH" val="24576"/>
  <p:tag name="DOWN_MIGRATION_INITIAL_LAYOUT_REQUIRED" val="9.2.99"/>
  <p:tag name="RUNTIME_ID" val="3238f02d-c838-4d92-b09b-2f7e20bf208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gBAQEBAQEBAQEBAQEBAQMAAAAAAAAAAwAAAAMAAAAA/////wUAtgsAAAAAAAAAAAAAIAD///////////////8AAAD///////////////8DAAAAAgD///////8DAAAAAgD///////8DAAAAAwD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7WLUVQrsrBBoFGjvJkv7tUEAAAAAAADAAAAAAADAAAAAwADAAAAAAADAAAAAwADAAgA////////BQAAAAMAEAALB6eeWw2Tmkm9wWYVsaBHPgQAAAABAAMAAAACAAMAAAAEAAMAAAACAP///////wMAAAAAAP///////wMAAAAAAP///////wMAAAAAAP///////wMAAAAAAP///////wMAAAAAAP///////wMAAAAAAP///////wQAAQD///////8FAAAABAAQAAtJ3o3m7W+BQaKMjfcLyz8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tYtRVCuysEGgUaO8mS/u1QREYXRhAAUAAAAAAk5hbWUADQAAAExpbmtEYXRhTGlzdAAQVmVyc2lvbgAAAAAACUxhc3RXcml0ZQDnkcHrkQEAAAABAP////9hAGEAAAAFX2lkABAAAAAEB6eeWw2Tmkm9wWYVsaBHPgREYXRhAAUAAAAAAk5hbWUADQAAAExpbmtEYXRhTGlzdAAQVmVyc2lvbgABAAAACUxhc3RXcml0ZQDpkcHrkQEAAAACAP////9wAHAAAAAFX2lkABAAAAAESd6N5u1vgUGijI33C8s/CANEYXRhABYAAAACUGVyc29uYWxJZAABAAAAAAACTmFtZQALAAAAUGVyc29uYWxJZAAQVmVyc2lvbgAAAAAACUxhc3RXcml0ZQD9kcHr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mCwAAAAAAAAAAAAAgAf///////////////wAAAP///////////////wUAAAACAP///////wUAAAACAP///////wUAAAADAP///////wUAAAAD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gBAwAAAAMA////////DgAGTGlua0RhdGFMaXN0XzEEAAAAAQAFAAAAAgAFAAAABAAFAAAAAgAFAAAABAAFAAAAAAAFAAAABAAFAAAAAAD///////8FAAAAAAD///////8FAAAAAAD///////8FAAAAAAD///////8FAAAAAAD///////8EAAMBAwAAAAQA////////DAAGUGVyc29uYWxJZF8wBAAAAAIABQAAAAMABQAAAAEABQAAAAMA////////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8340172962455"/>
  <p:tag name="EMPOWERCHARTSPROPERTIES_B_LENGTH" val="24576"/>
  <p:tag name="DOWN_MIGRATION_INITIAL_LAYOUT_REQUIRED" val="9.2.99"/>
  <p:tag name="RUNTIME_ID" val="a351805a-4f3f-41c3-a17f-2ea05a0c9d89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QBAQEBAQEBAQEBAQEBAQMAAAAAAAAAAwAAAAMAAAAA/////wUAqgsAAAAAAAAAAAAAIAD///////////////8AAAD///////////////8DAAAAAgD///////8DAAAAAgD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1EC8TiJ9xpFuJOKdfxhmjIEAAAAAAADAAAAAAADAAAABAADAAAAAAADAAAABAADAAQA////////BQAAAAMAEAALlPUjl8fYtkG2KR1uljpMjQQAAAABAAMAAAAEAAMAAAABAAMAAAAEAP///////wMAAAAEAP///////wMAAAAEAP///////wQABgD///////8FAAAABAAQAAscCWxhHNvQQLTTsIPqKdyyBAAAAAIAAwAAAAIAAwAAAAMAAwAAAAIAAwAAAAMAAwAAAAAAAwAAAAMAAwAAAAAAAwAAAAMA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UQLxOIn3GkW4k4p1/GGaMgREYXRhAAUAAAAAAk5hbWUADQAAAExpbmtEYXRhTGlzdAAQVmVyc2lvbgAAAAAACUxhc3RXcml0ZQCMkMHrkQEAAAABAP////9hAGEAAAAFX2lkABAAAAAElPUjl8fYtkG2KR1uljpMjQREYXRhAAUAAAAAAk5hbWUADQAAAExpbmtEYXRhTGlzdAAQVmVyc2lvbgABAAAACUxhc3RXcml0ZQCNkMHrkQEAAAACAP////9wAHAAAAAFX2lkABAAAAAEHAlsYRzb0EC007CD6incsgNEYXRhABYAAAACUGVyc29uYWxJZAABAAAAAAACTmFtZQALAAAAUGVyc29uYWxJZAAQVmVyc2lvbgAAAAAACUxhc3RXcml0ZQC1kMHr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QBAwAAAAMA////////DgAGTGlua0RhdGFMaXN0XzEEAAAAAQAFAAAAAgAFAAAABAAFAAAAAgAFAAAABAAFAAAAAAD///////8FAAAAAAD///////8EAAIBAwAAAAQA////////DAAGUGVyc29uYWxJZF8wBAAAAAIABQAAAAM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8340169690810"/>
  <p:tag name="EMPOWERCHARTSPROPERTIES_B_LENGTH" val="24576"/>
  <p:tag name="DOWN_MIGRATION_INITIAL_LAYOUT_REQUIRED" val="9.2.99"/>
  <p:tag name="RUNTIME_ID" val="f448cdd7-923f-442d-837a-b0fe5c879a5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MAAAAAAAAAAwAAAAMAAAAA/////wUA/gsAAAAAAAAAAAAAIAD///////////////8AAAD///////////////8DAAAABA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2XQSLt2agNPuM3lvYwefBIEAAAAAAADAAAABAADAAAAAwADAAAAAAD///////8DAAAAAAD///////8DAAEA////////BQAAAAMAEAALjZ5p+21QkEe++Q73ztXq/gQAAAABAAMAAAACAAMAAAABAAQAAQD///////8FAAAABAAQAAsSjIOXJyZ8SZVq713c+8R/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ZdBIu3ZqA0+4zeW9jB58EgREYXRhAAUAAAAAAk5hbWUADQAAAExpbmtEYXRhTGlzdAAQVmVyc2lvbgABAAAACUxhc3RXcml0ZQDakMHrkQEAAAABAP////9hAGEAAAAFX2lkABAAAAAEjZ5p+21QkEe++Q73ztXq/gREYXRhAAUAAAAAAk5hbWUADQAAAExpbmtEYXRhTGlzdAAQVmVyc2lvbgAAAAAACUxhc3RXcml0ZQDZkMHrkQEAAAACAP////9wAHAAAAAFX2lkABAAAAAEEoyDlycmfEmVau9d3PvEfwNEYXRhABYAAAACUGVyc29uYWxJZAABAAAAAAACTmFtZQALAAAAUGVyc29uYWxJZAAQVmVyc2lvbgAAAAAACUxhc3RXcml0ZQDxkMHr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KCwAAAAAAAAAAAAAgAf///////////////wAAAP///////////////wUAAAADAP///////wUAAAACAP///////wUAAAAC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AFAAAABAADAAEBAwAAAAMA////////DgAGTGlua0RhdGFMaXN0XzAEAAAAAQAFAAAAAAAFAAAAAgAEAAYBAwAAAAQA////////DAAGUGVyc29uYWxJZF8wBAAAAAIABQAAAAIABQAAAAEABQAAAAIA////////BQAAAAIA////////BQAAAAA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8340170279159"/>
  <p:tag name="EMPOWERCHARTSPROPERTIES_B_LENGTH" val="24576"/>
  <p:tag name="DOWN_MIGRATION_INITIAL_LAYOUT_REQUIRED" val="9.2.99"/>
  <p:tag name="RUNTIME_ID" val="40184820-020e-44a6-968b-9c1667f2cacc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/////wUACgwAAAAAAAAAAAAAIAD///////////////8AAAD////////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wq0TCom1IRKiTSxBcEYK88EAAAAAAADAAAABAADAAAAAwADAAEA////////BQAAAAMAEAALBDRzmHZPXE2Sz6CxAZ2wSQQAAAABAAMAAAACAAMAAAABAAQAAgD///////8FAAAABAAQAAsbEXIVopZpSJAiny9WDF3ABAAAAAIAAwAAAAAAAwAAAAI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CrRMKibUhEqJNLEFwRgrzwREYXRhAAUAAAAAAk5hbWUADQAAAExpbmtEYXRhTGlzdAAQVmVyc2lvbgAAAAAACUxhc3RXcml0ZQAYkcHrkQEAAAABAP////9hAGEAAAAFX2lkABAAAAAEBDRzmHZPXE2Sz6CxAZ2wSQREYXRhAAUAAAAAAk5hbWUADQAAAExpbmtEYXRhTGlzdAAQVmVyc2lvbgABAAAACUxhc3RXcml0ZQAZkcHrkQEAAAACAP////9wAHAAAAAFX2lkABAAAAAEGxFyFaKWaUiQIp8vVgxdwANEYXRhABYAAAACUGVyc29uYWxJZAABAAAAAAACTmFtZQALAAAAUGVyc29uYWxJZAAQVmVyc2lvbgAAAAAACUxhc3RXcml0ZQA3kcHr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QBAwAAAAQA////////DAAGUGVyc29uYWxJZF8wBAAAAAIABQAAAAMABQAAAAEABQAAAAA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8340170976212"/>
  <p:tag name="EMPOWERCHARTSPROPERTIES_B_LENGTH" val="24576"/>
  <p:tag name="DOWN_MIGRATION_INITIAL_LAYOUT_REQUIRED" val="9.2.99"/>
  <p:tag name="RUNTIME_ID" val="46b6e9c3-d230-4d7f-9aa1-eef993e8ae3f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/////wUAFgwAAAAAAAAAAAAAIAD///////////////8AAAD////////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0Rk5IDqhVVGu9TYtBbl8GwEAAAAAAADAAAABAADAAAAAwADAAEA////////BQAAAAMAEAALC7Chjaz/5EG/ZHAng9mp+AQAAAABAAMAAAACAAMAAAABAAQAAQD///////8FAAAABAAQAAseL1YxDdd+Q5ZmNekgoXtU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GTkgOqFVUa71Ni0FuXwbAREYXRhAAUAAAAAAk5hbWUADQAAAExpbmtEYXRhTGlzdAAQVmVyc2lvbgABAAAACUxhc3RXcml0ZQBZkcHrkQEAAAABAP////9hAGEAAAAFX2lkABAAAAAEC7Chjaz/5EG/ZHAng9mp+AREYXRhAAUAAAAAAk5hbWUADQAAAExpbmtEYXRhTGlzdAAQVmVyc2lvbgAAAAAACUxhc3RXcml0ZQBZkcHrkQEAAAACAP////9wAHAAAAAFX2lkABAAAAAEHi9WMQ3XfkOWZjXpIKF7VANEYXRhABYAAAACUGVyc29uYWxJZAABAAAAAAACTmFtZQALAAAAUGVyc29uYWxJZAAQVmVyc2lvbgAAAAAACUxhc3RXcml0ZQBskcHr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IBAwAAAAQA////////DAAGUGVyc29uYWxJZF8wBAAAAAIABQAAAAIABQAAAAE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8340171543522"/>
  <p:tag name="EMPOWERCHARTSPROPERTIES_B_LENGTH" val="24576"/>
  <p:tag name="DOWN_MIGRATION_INITIAL_LAYOUT_REQUIRED" val="9.2.99"/>
  <p:tag name="RUNTIME_ID" val="8777f48b-383a-4bca-96a9-7e43a8fe0b9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MBAQEBAQEBAQEBAQEBAQMAAAAAAAAAAwAAAAMAAAAA/////wUAzgsAAAAAAAAAAAAAIAD///////////////8AAAD///////////////8DAAAABAD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sbIyPyvwZEgSXTuJSh5o8EAAAAAAADAAAABAADAAAAAwADAAMA////////BQAAAAMAEAALtwGsXb9ocEaPURHW5AekfQQAAAABAAMAAAACAAMAAAABAAMAAAAEAP///////wMAAAAEAP///////wQABQD///////8FAAAABAAQAAvkQ/0UcllZQ4OWiKOuvX+gBAAAAAIAAwAAAAAAAwAAAAIAAwAAAAAAAwAAAAMAAwAAAAAAAwAAAAMA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xsjI/K/BkSBJdO4lKHmjwREYXRhAAUAAAAAAk5hbWUADQAAAExpbmtEYXRhTGlzdAAQVmVyc2lvbgABAAAACUxhc3RXcml0ZQCokcHrkQEAAAABAP////9hAGEAAAAFX2lkABAAAAAEtwGsXb9ocEaPURHW5AekfQREYXRhAAUAAAAAAk5hbWUADQAAAExpbmtEYXRhTGlzdAAQVmVyc2lvbgAAAAAACUxhc3RXcml0ZQCUkcHrkQEAAAACAP////9wAHAAAAAFX2lkABAAAAAE5EP9FHJZWUODloijrr1/oANEYXRhABYAAAACUGVyc29uYWxJZAABAAAAAAACTmFtZQALAAAAUGVyc29uYWxJZAAQVmVyc2lvbgAAAAAACUxhc3RXcml0ZQC9kcHr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MBAwAAAAMA////////DgAGTGlua0RhdGFMaXN0XzAEAAAAAQAFAAAAAAAFAAAAAgAFAAAAAAD///////8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8340172343667"/>
  <p:tag name="EMPOWERCHARTSPROPERTIES_B_LENGTH" val="24576"/>
  <p:tag name="DOWN_MIGRATION_INITIAL_LAYOUT_REQUIRED" val="9.2.99"/>
  <p:tag name="RUNTIME_ID" val="a9d16df3-cadd-42e0-801f-b56908112ab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gBAQEBAQEBAQEBAQEBAQMAAAAAAAAAAwAAAAMAAAAA/////wUAtgsAAAAAAAAAAAAAIAD///////////////8AAAD///////////////8DAAAAAgD///////8DAAAAAgD///////8DAAAAAwD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7WLUVQrsrBBoFGjvJkv7tUEAAAAAAADAAAAAAADAAAAAwADAAAAAAADAAAAAwADAAgA////////BQAAAAMAEAALB6eeWw2Tmkm9wWYVsaBHPgQAAAABAAMAAAACAAMAAAAEAAMAAAACAP///////wMAAAAAAP///////wMAAAAAAP///////wMAAAAAAP///////wMAAAAAAP///////wMAAAAAAP///////wMAAAAAAP///////wQAAQD///////8FAAAABAAQAAtJ3o3m7W+BQaKMjfcLyz8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tYtRVCuysEGgUaO8mS/u1QREYXRhAAUAAAAAAk5hbWUADQAAAExpbmtEYXRhTGlzdAAQVmVyc2lvbgAAAAAACUxhc3RXcml0ZQDnkcHrkQEAAAABAP////9hAGEAAAAFX2lkABAAAAAEB6eeWw2Tmkm9wWYVsaBHPgREYXRhAAUAAAAAAk5hbWUADQAAAExpbmtEYXRhTGlzdAAQVmVyc2lvbgABAAAACUxhc3RXcml0ZQDpkcHrkQEAAAACAP////9wAHAAAAAFX2lkABAAAAAESd6N5u1vgUGijI33C8s/CANEYXRhABYAAAACUGVyc29uYWxJZAABAAAAAAACTmFtZQALAAAAUGVyc29uYWxJZAAQVmVyc2lvbgAAAAAACUxhc3RXcml0ZQD9kcHr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mCwAAAAAAAAAAAAAgAf///////////////wAAAP///////////////wUAAAACAP///////wUAAAACAP///////wUAAAADAP///////wUAAAAD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gBAwAAAAMA////////DgAGTGlua0RhdGFMaXN0XzEEAAAAAQAFAAAAAgAFAAAABAAFAAAAAgAFAAAABAAFAAAAAAAFAAAABAAFAAAAAAD///////8FAAAAAAD///////8FAAAAAAD///////8FAAAAAAD///////8FAAAAAAD///////8EAAMBAwAAAAQA////////DAAGUGVyc29uYWxJZF8wBAAAAAIABQAAAAMABQAAAAEABQAAAAMA////////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8340172962455"/>
  <p:tag name="EMPOWERCHARTSPROPERTIES_B_LENGTH" val="24576"/>
  <p:tag name="DOWN_MIGRATION_INITIAL_LAYOUT_REQUIRED" val="9.2.99"/>
  <p:tag name="RUNTIME_ID" val="8f5d17f8-ef4a-4aa3-ab72-00e60650c4a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QBAQEBAQEBAQEBAQEBAQMAAAAAAAAAAwAAAAMAAAAA/////wUAqgsAAAAAAAAAAAAAIAD///////////////8AAAD///////////////8DAAAAAgD///////8DAAAAAgD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1EC8TiJ9xpFuJOKdfxhmjIEAAAAAAADAAAAAAADAAAABAADAAAAAAADAAAABAADAAQA////////BQAAAAMAEAALlPUjl8fYtkG2KR1uljpMjQQAAAABAAMAAAAEAAMAAAABAAMAAAAEAP///////wMAAAAEAP///////wMAAAAEAP///////wQABgD///////8FAAAABAAQAAscCWxhHNvQQLTTsIPqKdyyBAAAAAIAAwAAAAIAAwAAAAMAAwAAAAIAAwAAAAMAAwAAAAAAAwAAAAMAAwAAAAAAAwAAAAMA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UQLxOIn3GkW4k4p1/GGaMgREYXRhAAUAAAAAAk5hbWUADQAAAExpbmtEYXRhTGlzdAAQVmVyc2lvbgAAAAAACUxhc3RXcml0ZQCMkMHrkQEAAAABAP////9hAGEAAAAFX2lkABAAAAAElPUjl8fYtkG2KR1uljpMjQREYXRhAAUAAAAAAk5hbWUADQAAAExpbmtEYXRhTGlzdAAQVmVyc2lvbgABAAAACUxhc3RXcml0ZQCNkMHrkQEAAAACAP////9wAHAAAAAFX2lkABAAAAAEHAlsYRzb0EC007CD6incsgNEYXRhABYAAAACUGVyc29uYWxJZAABAAAAAAACTmFtZQALAAAAUGVyc29uYWxJZAAQVmVyc2lvbgAAAAAACUxhc3RXcml0ZQC1kMHr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QBAwAAAAMA////////DgAGTGlua0RhdGFMaXN0XzEEAAAAAQAFAAAAAgAFAAAABAAFAAAAAgAFAAAABAAFAAAAAAD///////8FAAAAAAD///////8EAAIBAwAAAAQA////////DAAGUGVyc29uYWxJZF8wBAAAAAIABQAAAAM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8340169690810"/>
  <p:tag name="EMPOWERCHARTSPROPERTIES_B_LENGTH" val="24576"/>
  <p:tag name="DOWN_MIGRATION_INITIAL_LAYOUT_REQUIRED" val="9.2.99"/>
  <p:tag name="RUNTIME_ID" val="5b656af3-55a9-43eb-83d7-b6ab3b98c6b8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/////wUAFgwAAAAAAAAAAAAAIAD///////////////8AAAD////////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0Rk5IDqhVVGu9TYtBbl8GwEAAAAAAADAAAABAADAAAAAwADAAEA////////BQAAAAMAEAALC7Chjaz/5EG/ZHAng9mp+AQAAAABAAMAAAACAAMAAAABAAQAAQD///////8FAAAABAAQAAseL1YxDdd+Q5ZmNekgoXtU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GTkgOqFVUa71Ni0FuXwbAREYXRhAAUAAAAAAk5hbWUADQAAAExpbmtEYXRhTGlzdAAQVmVyc2lvbgABAAAACUxhc3RXcml0ZQBZkcHrkQEAAAABAP////9hAGEAAAAFX2lkABAAAAAEC7Chjaz/5EG/ZHAng9mp+AREYXRhAAUAAAAAAk5hbWUADQAAAExpbmtEYXRhTGlzdAAQVmVyc2lvbgAAAAAACUxhc3RXcml0ZQBZkcHrkQEAAAACAP////9wAHAAAAAFX2lkABAAAAAEHi9WMQ3XfkOWZjXpIKF7VANEYXRhABYAAAACUGVyc29uYWxJZAABAAAAAAACTmFtZQALAAAAUGVyc29uYWxJZAAQVmVyc2lvbgAAAAAACUxhc3RXcml0ZQBskcHr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IBAwAAAAQA////////DAAGUGVyc29uYWxJZF8wBAAAAAIABQAAAAIABQAAAAE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8340171543522"/>
  <p:tag name="EMPOWERCHARTSPROPERTIES_B_LENGTH" val="24576"/>
  <p:tag name="DOWN_MIGRATION_INITIAL_LAYOUT_REQUIRED" val="9.2.99"/>
  <p:tag name="RUNTIME_ID" val="87dadac5-620e-4afc-a396-883f97dea31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MAAAAAAAAAAwAAAAMAAAAA/////wUA/gsAAAAAAAAAAAAAIAD///////////////8AAAD///////////////8DAAAABA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2XQSLt2agNPuM3lvYwefBIEAAAAAAADAAAABAADAAAAAwADAAAAAAD///////8DAAAAAAD///////8DAAEA////////BQAAAAMAEAALjZ5p+21QkEe++Q73ztXq/gQAAAABAAMAAAACAAMAAAABAAQAAQD///////8FAAAABAAQAAsSjIOXJyZ8SZVq713c+8R/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ZdBIu3ZqA0+4zeW9jB58EgREYXRhAAUAAAAAAk5hbWUADQAAAExpbmtEYXRhTGlzdAAQVmVyc2lvbgABAAAACUxhc3RXcml0ZQDakMHrkQEAAAABAP////9hAGEAAAAFX2lkABAAAAAEjZ5p+21QkEe++Q73ztXq/gREYXRhAAUAAAAAAk5hbWUADQAAAExpbmtEYXRhTGlzdAAQVmVyc2lvbgAAAAAACUxhc3RXcml0ZQDZkMHrkQEAAAACAP////9wAHAAAAAFX2lkABAAAAAEEoyDlycmfEmVau9d3PvEfwNEYXRhABYAAAACUGVyc29uYWxJZAABAAAAAAACTmFtZQALAAAAUGVyc29uYWxJZAAQVmVyc2lvbgAAAAAACUxhc3RXcml0ZQDxkMHr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KCwAAAAAAAAAAAAAgAf///////////////wAAAP///////////////wUAAAADAP///////wUAAAACAP///////wUAAAAC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AFAAAABAADAAEBAwAAAAMA////////DgAGTGlua0RhdGFMaXN0XzAEAAAAAQAFAAAAAAAFAAAAAgAEAAYBAwAAAAQA////////DAAGUGVyc29uYWxJZF8wBAAAAAIABQAAAAIABQAAAAEABQAAAAIA////////BQAAAAIA////////BQAAAAA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8340170279159"/>
  <p:tag name="EMPOWERCHARTSPROPERTIES_B_LENGTH" val="24576"/>
  <p:tag name="DOWN_MIGRATION_INITIAL_LAYOUT_REQUIRED" val="9.2.99"/>
  <p:tag name="RUNTIME_ID" val="48a9990d-c6bf-4136-adb1-81aa0b310bd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/////wUA/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+s4AicNM31JqaRUdX+geQUEAAAAAAADAAAAAAADAAAABAADAAAAAAD///////8DAAAAAAD///////8DAAEA////////BQAAAAMAEAAL2v5hrC1Bf0O03o2AQ7UVUwQAAAABAAMAAAAEAAMAAAABAAQAAQD///////8FAAAABAAQAAtSH4tqPAbfT7DVJ42ZjUuG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6zgCJw0zfUmppFR1f6B5BQREYXRhAAUAAAAAAk5hbWUADQAAAExpbmtEYXRhTGlzdAAQVmVyc2lvbgABAAAACUxhc3RXcml0ZQC2bOHDjwEAAAABAP////9hAGEAAAAFX2lkABAAAAAE2v5hrC1Bf0O03o2AQ7UVUwREYXRhAAUAAAAAAk5hbWUADQAAAExpbmtEYXRhTGlzdAAQVmVyc2lvbgAAAAAACUxhc3RXcml0ZQCUbOHDjwEAAAACAP////9wAHAAAAAFX2lkABAAAAAEUh+LajwG30+w1SeNmY1LhgNEYXRhABYAAAACUGVyc29uYWxJZAABAAAAAAACTmFtZQALAAAAUGVyc29uYWxJZAAQVmVyc2lvbgAAAAAACUxhc3RXcml0ZQDNbOHD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DAP///////wUAAAACAP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AFAAAABAADAAEBAwAAAAMA////////DgAGTGlua0RhdGFMaXN0XzAEAAAAAQAFAAAAAAAFAAAAAgAEAAQBAwAAAAQA////////DAAGUGVyc29uYWxJZF8wBAAAAAIABQAAAAIABQAAAAEABQAAAAIA////////BQAAAAI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5750816958870"/>
  <p:tag name="EMPOWERCHARTSPROPERTIES_B_LENGTH" val="24576"/>
  <p:tag name="DOWN_MIGRATION_INITIAL_LAYOUT_REQUIRED" val="9.2.99"/>
  <p:tag name="RUNTIME_ID" val="85dcdc83-010f-41ae-a9c9-ddd4d288392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/////wUACgwAAAAAAAAAAAAAIAD///////////////8AAAD////////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wq0TCom1IRKiTSxBcEYK88EAAAAAAADAAAABAADAAAAAwADAAEA////////BQAAAAMAEAALBDRzmHZPXE2Sz6CxAZ2wSQQAAAABAAMAAAACAAMAAAABAAQAAgD///////8FAAAABAAQAAsbEXIVopZpSJAiny9WDF3ABAAAAAIAAwAAAAAAAwAAAAI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CrRMKibUhEqJNLEFwRgrzwREYXRhAAUAAAAAAk5hbWUADQAAAExpbmtEYXRhTGlzdAAQVmVyc2lvbgAAAAAACUxhc3RXcml0ZQAYkcHrkQEAAAABAP////9hAGEAAAAFX2lkABAAAAAEBDRzmHZPXE2Sz6CxAZ2wSQREYXRhAAUAAAAAAk5hbWUADQAAAExpbmtEYXRhTGlzdAAQVmVyc2lvbgABAAAACUxhc3RXcml0ZQAZkcHrkQEAAAACAP////9wAHAAAAAFX2lkABAAAAAEGxFyFaKWaUiQIp8vVgxdwANEYXRhABYAAAACUGVyc29uYWxJZAABAAAAAAACTmFtZQALAAAAUGVyc29uYWxJZAAQVmVyc2lvbgAAAAAACUxhc3RXcml0ZQA3kcHr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QBAwAAAAQA////////DAAGUGVyc29uYWxJZF8wBAAAAAIABQAAAAMABQAAAAEABQAAAAA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8340170976212"/>
  <p:tag name="EMPOWERCHARTSPROPERTIES_B_LENGTH" val="24576"/>
  <p:tag name="DOWN_MIGRATION_INITIAL_LAYOUT_REQUIRED" val="9.2.99"/>
  <p:tag name="RUNTIME_ID" val="dd6b38d5-1f94-4c18-bbaf-c9cde52d7b2f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MBAQEBAQEBAQEBAQEBAQMAAAAAAAAAAwAAAAMAAAAA/////wUAzgsAAAAAAAAAAAAAIAD///////////////8AAAD///////////////8DAAAABAD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sbIyPyvwZEgSXTuJSh5o8EAAAAAAADAAAABAADAAAAAwADAAMA////////BQAAAAMAEAALtwGsXb9ocEaPURHW5AekfQQAAAABAAMAAAACAAMAAAABAAMAAAAEAP///////wMAAAAEAP///////wQABQD///////8FAAAABAAQAAvkQ/0UcllZQ4OWiKOuvX+gBAAAAAIAAwAAAAAAAwAAAAIAAwAAAAAAAwAAAAMAAwAAAAAAAwAAAAMA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xsjI/K/BkSBJdO4lKHmjwREYXRhAAUAAAAAAk5hbWUADQAAAExpbmtEYXRhTGlzdAAQVmVyc2lvbgABAAAACUxhc3RXcml0ZQCokcHrkQEAAAABAP////9hAGEAAAAFX2lkABAAAAAEtwGsXb9ocEaPURHW5AekfQREYXRhAAUAAAAAAk5hbWUADQAAAExpbmtEYXRhTGlzdAAQVmVyc2lvbgAAAAAACUxhc3RXcml0ZQCUkcHrkQEAAAACAP////9wAHAAAAAFX2lkABAAAAAE5EP9FHJZWUODloijrr1/oANEYXRhABYAAAACUGVyc29uYWxJZAABAAAAAAACTmFtZQALAAAAUGVyc29uYWxJZAAQVmVyc2lvbgAAAAAACUxhc3RXcml0ZQC9kcHr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MBAwAAAAMA////////DgAGTGlua0RhdGFMaXN0XzAEAAAAAQAFAAAAAAAFAAAAAgAFAAAAAAD///////8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8340172343667"/>
  <p:tag name="EMPOWERCHARTSPROPERTIES_B_LENGTH" val="24576"/>
  <p:tag name="DOWN_MIGRATION_INITIAL_LAYOUT_REQUIRED" val="9.2.99"/>
  <p:tag name="RUNTIME_ID" val="992fb4c9-a996-433e-ace4-4ae61fe0c6e9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gBAQEBAQEBAQEBAQEBAQMAAAAAAAAAAwAAAAMAAAAA/////wUAtgsAAAAAAAAAAAAAIAD///////////////8AAAD///////////////8DAAAAAgD///////8DAAAAAgD///////8DAAAAAwD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7WLUVQrsrBBoFGjvJkv7tUEAAAAAAADAAAAAAADAAAAAwADAAAAAAADAAAAAwADAAgA////////BQAAAAMAEAALB6eeWw2Tmkm9wWYVsaBHPgQAAAABAAMAAAACAAMAAAAEAAMAAAACAP///////wMAAAAAAP///////wMAAAAAAP///////wMAAAAAAP///////wMAAAAAAP///////wMAAAAAAP///////wMAAAAAAP///////wQAAQD///////8FAAAABAAQAAtJ3o3m7W+BQaKMjfcLyz8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tYtRVCuysEGgUaO8mS/u1QREYXRhAAUAAAAAAk5hbWUADQAAAExpbmtEYXRhTGlzdAAQVmVyc2lvbgAAAAAACUxhc3RXcml0ZQDnkcHrkQEAAAABAP////9hAGEAAAAFX2lkABAAAAAEB6eeWw2Tmkm9wWYVsaBHPgREYXRhAAUAAAAAAk5hbWUADQAAAExpbmtEYXRhTGlzdAAQVmVyc2lvbgABAAAACUxhc3RXcml0ZQDpkcHrkQEAAAACAP////9wAHAAAAAFX2lkABAAAAAESd6N5u1vgUGijI33C8s/CANEYXRhABYAAAACUGVyc29uYWxJZAABAAAAAAACTmFtZQALAAAAUGVyc29uYWxJZAAQVmVyc2lvbgAAAAAACUxhc3RXcml0ZQD9kcHr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mCwAAAAAAAAAAAAAgAf///////////////wAAAP///////////////wUAAAACAP///////wUAAAACAP///////wUAAAADAP///////wUAAAAD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gBAwAAAAMA////////DgAGTGlua0RhdGFMaXN0XzEEAAAAAQAFAAAAAgAFAAAABAAFAAAAAgAFAAAABAAFAAAAAAAFAAAABAAFAAAAAAD///////8FAAAAAAD///////8FAAAAAAD///////8FAAAAAAD///////8FAAAAAAD///////8EAAMBAwAAAAQA////////DAAGUGVyc29uYWxJZF8wBAAAAAIABQAAAAMABQAAAAEABQAAAAMA////////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8340172962455"/>
  <p:tag name="EMPOWERCHARTSPROPERTIES_B_LENGTH" val="24576"/>
  <p:tag name="DOWN_MIGRATION_INITIAL_LAYOUT_REQUIRED" val="9.2.99"/>
  <p:tag name="RUNTIME_ID" val="5f0a7bbe-b23c-42f9-aff9-77db7bd45de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6a3364b-6ec0-4d71-a5f2-907547e43e17"/>
  <p:tag name="MIO_EKGUID" val="fee61495-3914-4066-ae0d-cd41f2784834"/>
  <p:tag name="MIO_UPDATE" val="True"/>
  <p:tag name="MIO_VERSION" val="13.06.2024 12:32:24"/>
  <p:tag name="MIO_DBID" val="B8FCB12D-AF03-49EB-9F79-BB019BE99E1E"/>
  <p:tag name="MIO_LASTDOWNLOADED" val="09.06.2025 13:55:34.125"/>
  <p:tag name="MIO_OBJECTNAME" val="Key Message Arrow"/>
  <p:tag name="MIO_CONTENTTAG" val="XmaLaih3eE2jYGYkzgSsng=="/>
  <p:tag name="MIO_LASTEDITORNAME" val="Georgina DEMO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93b4a9a-95d0-4b2c-ad9b-b8226bb3cf9c"/>
  <p:tag name="MIO_GUID" val="9d525ab3-ddf5-494f-b521-0107fe0a605b"/>
  <p:tag name="MIO_UPDATE" val="True"/>
  <p:tag name="MIO_VERSION" val="27.05.2024 16:50:16"/>
  <p:tag name="MIO_DBID" val="B8FCB12D-AF03-49EB-9F79-BB019BE99E1E"/>
  <p:tag name="MIO_LASTDOWNLOADED" val="24.06.2025 13:51:53.854"/>
  <p:tag name="MIO_OBJECTNAME" val="_Subheading"/>
  <p:tag name="MIO_CONTENTTAG" val="S23kl13Yp0mzi9a4WjVfZA=="/>
  <p:tag name="MIO_LASTEDITORNAME" val="Georgina DEMO"/>
  <p:tag name="RUNTIME_ID" val="ff2d7330-1426-4aa4-a934-721927172c46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90b758d-50e1-447c-8cb6-dc359af65c9a"/>
  <p:tag name="MIO_EKGUID" val="a1536b8b-9b24-4e7a-9d37-6955579de679"/>
  <p:tag name="MIO_UPDATE" val="True"/>
  <p:tag name="MIO_VERSION" val="23.06.2025 10:33:17"/>
  <p:tag name="MIO_DBID" val="b8fcb12d-af03-49eb-9f79-bb019be99e1e"/>
  <p:tag name="MIO_LASTDOWNLOADED" val="19.08.2025 11:07:04"/>
  <p:tag name="MIO_OBJECTNAME" val="empower tools that can help with branding | 2 of 4"/>
  <p:tag name="MIO_LASTEDITORNAME" val="Georgina DEMO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3fb4826-a558-4613-a4ba-a171b646c515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MAAAAAAAAAAwAAAAMAAAAA/////wUA/gsAAAAAAAAAAAAAIAD///////////////8AAAD////////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y6XRGpAeDlGq6Rz2Twl9YUEAAAAAAADAAAABAADAAAAAwADAAIA////////BQAAAAMAEAAL8Y8EoUZA4EOSx+20iYCGzwQAAAABAAMAAAACAAMAAAABAAMAAAAEAP///////wQAAgD///////8FAAAABAAQAAtZQsUHK3huT4Vo8uFsHhdK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LpdEakB4OUarpHPZPCX1hQREYXRhAAUAAAAAAk5hbWUADQAAAExpbmtEYXRhTGlzdAAQVmVyc2lvbgABAAAACUxhc3RXcml0ZQAG3RtVkAEAAAABAP////9hAGEAAAAFX2lkABAAAAAE8Y8EoUZA4EOSx+20iYCGzwREYXRhAAUAAAAAAk5hbWUADQAAAExpbmtEYXRhTGlzdAAQVmVyc2lvbgAAAAAACUxhc3RXcml0ZQAB3RtVkAEAAAACAP////9wAHAAAAAFX2lkABAAAAAEWULFByt4bk+FaPLhbB4XSgNEYXRhABYAAAACUGVyc29uYWxJZAABAAAAAAACTmFtZQALAAAAUGVyc29uYWxJZAAQVmVyc2lvbgAAAAAACUxhc3RXcml0ZQAk3RtV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DAP///////wUAAAAD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UBAwAAAAQA////////DAAGUGVyc29uYWxJZF8wBAAAAAIABQAAAAIABQAAAAEABQAAAAMA////////BQAAAAA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50116078681560"/>
  <p:tag name="EMPOWERCHARTSPROPERTIES_B_LENGTH" val="24576"/>
  <p:tag name="DOWN_MIGRATION_INITIAL_LAYOUT_REQUIRED" val="9.2.99"/>
  <p:tag name="RUNTIME_ID" val="8d91d865-4d2a-40f8-b891-c57ed498f581"/>
  <p:tag name="MIO_EKGUID" val="02581bcd-d927-44cb-b92c-a4195f7fdc1b"/>
  <p:tag name="MIO_UPDATE" val="True"/>
  <p:tag name="MIO_VERSION" val="04.11.2024 15:37:03"/>
  <p:tag name="MIO_DBID" val="B8FCB12D-AF03-49EB-9F79-BB019BE99E1E"/>
  <p:tag name="MIO_LASTDOWNLOADED" val="09.06.2025 16:06:52.305"/>
  <p:tag name="MIO_OBJECTNAME" val="Banner Box 4 - Orange"/>
  <p:tag name="MIO_CONTENTTAG" val="1TdWDIsV206NpfRW5HPoWQ=="/>
  <p:tag name="MIO_LASTEDITORNAME" val="Georgina DEMO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868dfeb-ba6b-4398-9415-95f32049131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f2d7330-1426-4aa4-a934-721927172c46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6a3364b-6ec0-4d71-a5f2-907547e43e17"/>
  <p:tag name="MIO_EKGUID" val="fee61495-3914-4066-ae0d-cd41f2784834"/>
  <p:tag name="MIO_UPDATE" val="True"/>
  <p:tag name="MIO_VERSION" val="13.06.2024 12:32:24"/>
  <p:tag name="MIO_DBID" val="B8FCB12D-AF03-49EB-9F79-BB019BE99E1E"/>
  <p:tag name="MIO_LASTDOWNLOADED" val="09.06.2025 13:55:34.125"/>
  <p:tag name="MIO_OBJECTNAME" val="Key Message Arrow"/>
  <p:tag name="MIO_CONTENTTAG" val="XmaLaih3eE2jYGYkzgSsng=="/>
  <p:tag name="MIO_LASTEDITORNAME" val="Georgina DEMO"/>
</p:tagLst>
</file>

<file path=ppt/theme/theme1.xml><?xml version="1.0" encoding="utf-8"?>
<a:theme xmlns:a="http://schemas.openxmlformats.org/drawingml/2006/main" name="empower express">
  <a:themeElements>
    <a:clrScheme name="Empower">
      <a:dk1>
        <a:srgbClr val="3C3C3C"/>
      </a:dk1>
      <a:lt1>
        <a:sysClr val="window" lastClr="FFFFFF"/>
      </a:lt1>
      <a:dk2>
        <a:srgbClr val="00316C"/>
      </a:dk2>
      <a:lt2>
        <a:srgbClr val="E3E3E3"/>
      </a:lt2>
      <a:accent1>
        <a:srgbClr val="00316C"/>
      </a:accent1>
      <a:accent2>
        <a:srgbClr val="00B8FF"/>
      </a:accent2>
      <a:accent3>
        <a:srgbClr val="538FFF"/>
      </a:accent3>
      <a:accent4>
        <a:srgbClr val="F07900"/>
      </a:accent4>
      <a:accent5>
        <a:srgbClr val="E24F03"/>
      </a:accent5>
      <a:accent6>
        <a:srgbClr val="00BF35"/>
      </a:accent6>
      <a:hlink>
        <a:srgbClr val="00B8FF"/>
      </a:hlink>
      <a:folHlink>
        <a:srgbClr val="66D4FF"/>
      </a:folHlink>
    </a:clrScheme>
    <a:fontScheme name="empower">
      <a:majorFont>
        <a:latin typeface="Segoe UI Semibold"/>
        <a:ea typeface="Segoe UI Semibold"/>
        <a:cs typeface="Segoe UI Semibold"/>
      </a:majorFont>
      <a:minorFont>
        <a:latin typeface="Segoe UI Semilight"/>
        <a:ea typeface="Segoe UI Light"/>
        <a:cs typeface="Segoe UI Light"/>
      </a:minorFont>
    </a:fontScheme>
    <a:fmtScheme name="empower 2022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9525" cap="flat" cmpd="sng" algn="ctr">
          <a:noFill/>
          <a:prstDash val="solid"/>
        </a:ln>
        <a:effectLst/>
      </a:spPr>
      <a:bodyPr lIns="90000" tIns="46800" rIns="90000" bIns="46800" rtlCol="0" anchor="ctr"/>
      <a:lstStyle>
        <a:defPPr algn="ctr" defTabSz="486000">
          <a:lnSpc>
            <a:spcPct val="100000"/>
          </a:lnSpc>
          <a:spcBef>
            <a:spcPts val="200"/>
          </a:spcBef>
          <a:spcAft>
            <a:spcPts val="200"/>
          </a:spcAft>
          <a:defRPr sz="14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200"/>
          </a:spcBef>
          <a:spcAft>
            <a:spcPts val="200"/>
          </a:spcAft>
          <a:defRPr sz="1400" b="0" i="0" u="none" dirty="0" err="1"/>
        </a:defPPr>
      </a:lstStyle>
    </a:txDef>
  </a:objectDefaults>
  <a:extraClrSchemeLst/>
  <a:custClrLst>
    <a:custClr name="Custom Color 1">
      <a:srgbClr val="335A89"/>
    </a:custClr>
    <a:custClr name="Custom Color 2">
      <a:srgbClr val="33C6FF"/>
    </a:custClr>
    <a:custClr name="Custom Color 3">
      <a:srgbClr val="75A5FF"/>
    </a:custClr>
    <a:custClr name="Custom Color 4">
      <a:srgbClr val="F39433"/>
    </a:custClr>
    <a:custClr name="Custom Color 5">
      <a:srgbClr val="E87235"/>
    </a:custClr>
    <a:custClr name="Custom Color 6">
      <a:srgbClr val="33CC5D"/>
    </a:custClr>
    <a:custClr name="Custom Color 7">
      <a:srgbClr val="C1C1C1"/>
    </a:custClr>
    <a:custClr name="Custom Color 8">
      <a:srgbClr val="002551"/>
    </a:custClr>
    <a:custClr name="Custom Color 9">
      <a:srgbClr val="008ABF"/>
    </a:custClr>
    <a:custClr name="Custom Color 10">
      <a:srgbClr val="0058FD"/>
    </a:custClr>
    <a:custClr name="Custom Color 11">
      <a:srgbClr val="6683A7"/>
    </a:custClr>
    <a:custClr name="Custom Color 12">
      <a:srgbClr val="66D4FF"/>
    </a:custClr>
    <a:custClr name="Custom Color 13">
      <a:srgbClr val="98BCFF"/>
    </a:custClr>
    <a:custClr name="Custom Color 14">
      <a:srgbClr val="F6AF66"/>
    </a:custClr>
    <a:custClr name="Custom Color 15">
      <a:srgbClr val="EE9568"/>
    </a:custClr>
    <a:custClr name="Custom Color 16">
      <a:srgbClr val="66D986"/>
    </a:custClr>
    <a:custClr name="Custom Color 17">
      <a:srgbClr val="D0D0D0"/>
    </a:custClr>
    <a:custClr name="Custom Color 18">
      <a:srgbClr val="001836"/>
    </a:custClr>
    <a:custClr name="Custom Color 19">
      <a:srgbClr val="005C7F"/>
    </a:custClr>
    <a:custClr name="Custom Color 20">
      <a:srgbClr val="003BA9"/>
    </a:custClr>
    <a:custClr name="Custom Color 21">
      <a:srgbClr val="99ADC4"/>
    </a:custClr>
    <a:custClr name="Custom Color 22">
      <a:srgbClr val="99E3FF"/>
    </a:custClr>
    <a:custClr name="Custom Color 23">
      <a:srgbClr val="BAD2FF"/>
    </a:custClr>
    <a:custClr name="Custom Color 24">
      <a:srgbClr val="F9C999"/>
    </a:custClr>
    <a:custClr name="Custom Color 25">
      <a:srgbClr val="F3B99A"/>
    </a:custClr>
    <a:custClr name="Custom Color 26">
      <a:srgbClr val="99E5AE"/>
    </a:custClr>
    <a:custClr name="Custom Color 27">
      <a:srgbClr val="E0E0E0"/>
    </a:custClr>
    <a:custClr name="Custom Color 28">
      <a:srgbClr val="B45B00"/>
    </a:custClr>
    <a:custClr name="Custom Color 29">
      <a:srgbClr val="A93B02"/>
    </a:custClr>
    <a:custClr name="Custom Color 30">
      <a:srgbClr val="008F28"/>
    </a:custClr>
    <a:custClr name="Custom Color 31">
      <a:srgbClr val="CCD6E2"/>
    </a:custClr>
    <a:custClr name="Custom Color 32">
      <a:srgbClr val="CCF1FF"/>
    </a:custClr>
    <a:custClr name="Custom Color 33">
      <a:srgbClr val="DDE9FF"/>
    </a:custClr>
    <a:custClr name="Custom Color 34">
      <a:srgbClr val="FCE4CC"/>
    </a:custClr>
    <a:custClr name="Custom Color 35">
      <a:srgbClr val="F9DCCD"/>
    </a:custClr>
    <a:custClr name="Custom Color 36">
      <a:srgbClr val="CCF2D7"/>
    </a:custClr>
    <a:custClr name="Custom Color 37">
      <a:srgbClr val="EFEFEF"/>
    </a:custClr>
    <a:custClr name="Custom Color 38">
      <a:srgbClr val="783C00"/>
    </a:custClr>
    <a:custClr name="Custom Color 39">
      <a:srgbClr val="712701"/>
    </a:custClr>
    <a:custClr name="Custom Color 40">
      <a:srgbClr val="00601A"/>
    </a:custClr>
    <a:custClr name="Custom Color 41">
      <a:srgbClr val="E5EAF0"/>
    </a:custClr>
    <a:custClr name="Custom Color 42">
      <a:srgbClr val="E5F8FF"/>
    </a:custClr>
    <a:custClr name="Custom Color 43">
      <a:srgbClr val="EDF4FF"/>
    </a:custClr>
    <a:custClr name="Custom Color 44">
      <a:srgbClr val="FDF1E5"/>
    </a:custClr>
    <a:custClr name="Custom Color 45">
      <a:srgbClr val="FCEDE5"/>
    </a:custClr>
    <a:custClr name="Custom Color 46">
      <a:srgbClr val="E5F8EA"/>
    </a:custClr>
    <a:custClr name="Custom Color 47">
      <a:srgbClr val="F7F7F7"/>
    </a:custClr>
    <a:custClr name="Custom Color 48">
      <a:srgbClr val="8A8A8A"/>
    </a:custClr>
    <a:custClr name="Custom Color 49">
      <a:srgbClr val="727272"/>
    </a:custClr>
    <a:custClr name="Custom Color 50">
      <a:srgbClr val="EDFCFF"/>
    </a:custClr>
  </a:custClrLst>
  <a:extLst>
    <a:ext uri="{05A4C25C-085E-4340-85A3-A5531E510DB2}">
      <thm15:themeFamily xmlns:thm15="http://schemas.microsoft.com/office/thememl/2012/main" name="empower blue 2023" id="{D94AD6F8-FC6A-4154-B559-59D30FF9DF35}" vid="{AAB2A20D-9137-40BE-B406-48FE8FCBFBA4}"/>
    </a:ext>
  </a:extLst>
</a:theme>
</file>

<file path=ppt/theme/theme2.xml><?xml version="1.0" encoding="utf-8"?>
<a:theme xmlns:a="http://schemas.openxmlformats.org/drawingml/2006/main" name="empower express">
  <a:themeElements>
    <a:clrScheme name="Empower">
      <a:dk1>
        <a:srgbClr val="3C3C3C"/>
      </a:dk1>
      <a:lt1>
        <a:sysClr val="window" lastClr="FFFFFF"/>
      </a:lt1>
      <a:dk2>
        <a:srgbClr val="00316C"/>
      </a:dk2>
      <a:lt2>
        <a:srgbClr val="E3E3E3"/>
      </a:lt2>
      <a:accent1>
        <a:srgbClr val="00316C"/>
      </a:accent1>
      <a:accent2>
        <a:srgbClr val="00B8FF"/>
      </a:accent2>
      <a:accent3>
        <a:srgbClr val="538FFF"/>
      </a:accent3>
      <a:accent4>
        <a:srgbClr val="F07900"/>
      </a:accent4>
      <a:accent5>
        <a:srgbClr val="E24F03"/>
      </a:accent5>
      <a:accent6>
        <a:srgbClr val="00BF35"/>
      </a:accent6>
      <a:hlink>
        <a:srgbClr val="00B8FF"/>
      </a:hlink>
      <a:folHlink>
        <a:srgbClr val="66D4FF"/>
      </a:folHlink>
    </a:clrScheme>
    <a:fontScheme name="empower">
      <a:majorFont>
        <a:latin typeface="Segoe UI Semibold"/>
        <a:ea typeface="Segoe UI Semibold"/>
        <a:cs typeface="Segoe UI Semibold"/>
      </a:majorFont>
      <a:minorFont>
        <a:latin typeface="Segoe UI Semilight"/>
        <a:ea typeface="Segoe UI Light"/>
        <a:cs typeface="Segoe UI Light"/>
      </a:minorFont>
    </a:fontScheme>
    <a:fmtScheme name="empower 2022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9525" cap="flat" cmpd="sng" algn="ctr">
          <a:noFill/>
          <a:prstDash val="solid"/>
        </a:ln>
        <a:effectLst/>
      </a:spPr>
      <a:bodyPr lIns="90000" tIns="46800" rIns="90000" bIns="46800" rtlCol="0" anchor="ctr"/>
      <a:lstStyle>
        <a:defPPr algn="ctr" defTabSz="486000">
          <a:lnSpc>
            <a:spcPct val="100000"/>
          </a:lnSpc>
          <a:spcBef>
            <a:spcPts val="200"/>
          </a:spcBef>
          <a:spcAft>
            <a:spcPts val="200"/>
          </a:spcAft>
          <a:defRPr sz="14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200"/>
          </a:spcBef>
          <a:spcAft>
            <a:spcPts val="200"/>
          </a:spcAft>
          <a:defRPr sz="1400" b="0" i="0" u="none" dirty="0" err="1"/>
        </a:defPPr>
      </a:lstStyle>
    </a:txDef>
  </a:objectDefaults>
  <a:extraClrSchemeLst/>
  <a:custClrLst>
    <a:custClr name="Custom Color 1">
      <a:srgbClr val="335A89"/>
    </a:custClr>
    <a:custClr name="Custom Color 2">
      <a:srgbClr val="33C6FF"/>
    </a:custClr>
    <a:custClr name="Custom Color 3">
      <a:srgbClr val="75A5FF"/>
    </a:custClr>
    <a:custClr name="Custom Color 4">
      <a:srgbClr val="F39433"/>
    </a:custClr>
    <a:custClr name="Custom Color 5">
      <a:srgbClr val="E87235"/>
    </a:custClr>
    <a:custClr name="Custom Color 6">
      <a:srgbClr val="33CC5D"/>
    </a:custClr>
    <a:custClr name="Custom Color 7">
      <a:srgbClr val="C1C1C1"/>
    </a:custClr>
    <a:custClr name="Custom Color 8">
      <a:srgbClr val="002551"/>
    </a:custClr>
    <a:custClr name="Custom Color 9">
      <a:srgbClr val="008ABF"/>
    </a:custClr>
    <a:custClr name="Custom Color 10">
      <a:srgbClr val="0058FD"/>
    </a:custClr>
    <a:custClr name="Custom Color 11">
      <a:srgbClr val="6683A7"/>
    </a:custClr>
    <a:custClr name="Custom Color 12">
      <a:srgbClr val="66D4FF"/>
    </a:custClr>
    <a:custClr name="Custom Color 13">
      <a:srgbClr val="98BCFF"/>
    </a:custClr>
    <a:custClr name="Custom Color 14">
      <a:srgbClr val="F6AF66"/>
    </a:custClr>
    <a:custClr name="Custom Color 15">
      <a:srgbClr val="EE9568"/>
    </a:custClr>
    <a:custClr name="Custom Color 16">
      <a:srgbClr val="66D986"/>
    </a:custClr>
    <a:custClr name="Custom Color 17">
      <a:srgbClr val="D0D0D0"/>
    </a:custClr>
    <a:custClr name="Custom Color 18">
      <a:srgbClr val="001836"/>
    </a:custClr>
    <a:custClr name="Custom Color 19">
      <a:srgbClr val="005C7F"/>
    </a:custClr>
    <a:custClr name="Custom Color 20">
      <a:srgbClr val="003BA9"/>
    </a:custClr>
    <a:custClr name="Custom Color 21">
      <a:srgbClr val="99ADC4"/>
    </a:custClr>
    <a:custClr name="Custom Color 22">
      <a:srgbClr val="99E3FF"/>
    </a:custClr>
    <a:custClr name="Custom Color 23">
      <a:srgbClr val="BAD2FF"/>
    </a:custClr>
    <a:custClr name="Custom Color 24">
      <a:srgbClr val="F9C999"/>
    </a:custClr>
    <a:custClr name="Custom Color 25">
      <a:srgbClr val="F3B99A"/>
    </a:custClr>
    <a:custClr name="Custom Color 26">
      <a:srgbClr val="99E5AE"/>
    </a:custClr>
    <a:custClr name="Custom Color 27">
      <a:srgbClr val="E0E0E0"/>
    </a:custClr>
    <a:custClr name="Custom Color 28">
      <a:srgbClr val="B45B00"/>
    </a:custClr>
    <a:custClr name="Custom Color 29">
      <a:srgbClr val="A93B02"/>
    </a:custClr>
    <a:custClr name="Custom Color 30">
      <a:srgbClr val="008F28"/>
    </a:custClr>
    <a:custClr name="Custom Color 31">
      <a:srgbClr val="CCD6E2"/>
    </a:custClr>
    <a:custClr name="Custom Color 32">
      <a:srgbClr val="CCF1FF"/>
    </a:custClr>
    <a:custClr name="Custom Color 33">
      <a:srgbClr val="DDE9FF"/>
    </a:custClr>
    <a:custClr name="Custom Color 34">
      <a:srgbClr val="FCE4CC"/>
    </a:custClr>
    <a:custClr name="Custom Color 35">
      <a:srgbClr val="F9DCCD"/>
    </a:custClr>
    <a:custClr name="Custom Color 36">
      <a:srgbClr val="CCF2D7"/>
    </a:custClr>
    <a:custClr name="Custom Color 37">
      <a:srgbClr val="EFEFEF"/>
    </a:custClr>
    <a:custClr name="Custom Color 38">
      <a:srgbClr val="783C00"/>
    </a:custClr>
    <a:custClr name="Custom Color 39">
      <a:srgbClr val="712701"/>
    </a:custClr>
    <a:custClr name="Custom Color 40">
      <a:srgbClr val="00601A"/>
    </a:custClr>
    <a:custClr name="Custom Color 41">
      <a:srgbClr val="E5EAF0"/>
    </a:custClr>
    <a:custClr name="Custom Color 42">
      <a:srgbClr val="E5F8FF"/>
    </a:custClr>
    <a:custClr name="Custom Color 43">
      <a:srgbClr val="EDF4FF"/>
    </a:custClr>
    <a:custClr name="Custom Color 44">
      <a:srgbClr val="FDF1E5"/>
    </a:custClr>
    <a:custClr name="Custom Color 45">
      <a:srgbClr val="FCEDE5"/>
    </a:custClr>
    <a:custClr name="Custom Color 46">
      <a:srgbClr val="E5F8EA"/>
    </a:custClr>
    <a:custClr name="Custom Color 47">
      <a:srgbClr val="F7F7F7"/>
    </a:custClr>
    <a:custClr name="Custom Color 48">
      <a:srgbClr val="8A8A8A"/>
    </a:custClr>
    <a:custClr name="Custom Color 49">
      <a:srgbClr val="727272"/>
    </a:custClr>
    <a:custClr name="Custom Color 50">
      <a:srgbClr val="EDFCFF"/>
    </a:custClr>
  </a:custClrLst>
  <a:extLst>
    <a:ext uri="{05A4C25C-085E-4340-85A3-A5531E510DB2}">
      <thm15:themeFamily xmlns:thm15="http://schemas.microsoft.com/office/thememl/2012/main" name="Default Theme.pptx" id="{879FE4D0-A15C-4D6E-8788-72FBCB3E4B23}" vid="{490D6537-950A-4DAE-A941-677D45D7E661}"/>
    </a:ext>
  </a:extLst>
</a:theme>
</file>

<file path=ppt/theme/theme3.xml><?xml version="1.0" encoding="utf-8"?>
<a:theme xmlns:a="http://schemas.openxmlformats.org/drawingml/2006/main" name="empower express">
  <a:themeElements>
    <a:clrScheme name="Empower">
      <a:dk1>
        <a:srgbClr val="3C3C3C"/>
      </a:dk1>
      <a:lt1>
        <a:sysClr val="window" lastClr="FFFFFF"/>
      </a:lt1>
      <a:dk2>
        <a:srgbClr val="00316C"/>
      </a:dk2>
      <a:lt2>
        <a:srgbClr val="E3E3E3"/>
      </a:lt2>
      <a:accent1>
        <a:srgbClr val="00316C"/>
      </a:accent1>
      <a:accent2>
        <a:srgbClr val="00B8FF"/>
      </a:accent2>
      <a:accent3>
        <a:srgbClr val="538FFF"/>
      </a:accent3>
      <a:accent4>
        <a:srgbClr val="F07900"/>
      </a:accent4>
      <a:accent5>
        <a:srgbClr val="E24F03"/>
      </a:accent5>
      <a:accent6>
        <a:srgbClr val="00BF35"/>
      </a:accent6>
      <a:hlink>
        <a:srgbClr val="00B8FF"/>
      </a:hlink>
      <a:folHlink>
        <a:srgbClr val="66D4FF"/>
      </a:folHlink>
    </a:clrScheme>
    <a:fontScheme name="empower">
      <a:majorFont>
        <a:latin typeface="Segoe UI Semibold"/>
        <a:ea typeface="Segoe UI Semibold"/>
        <a:cs typeface="Segoe UI Semibold"/>
      </a:majorFont>
      <a:minorFont>
        <a:latin typeface="Segoe UI Semilight"/>
        <a:ea typeface="Segoe UI Light"/>
        <a:cs typeface="Segoe UI Light"/>
      </a:minorFont>
    </a:fontScheme>
    <a:fmtScheme name="empower 2022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9525" cap="flat" cmpd="sng" algn="ctr">
          <a:noFill/>
          <a:prstDash val="solid"/>
        </a:ln>
        <a:effectLst/>
      </a:spPr>
      <a:bodyPr lIns="90000" tIns="46800" rIns="90000" bIns="46800" rtlCol="0" anchor="ctr"/>
      <a:lstStyle>
        <a:defPPr algn="ctr" defTabSz="486000">
          <a:lnSpc>
            <a:spcPct val="100000"/>
          </a:lnSpc>
          <a:spcBef>
            <a:spcPts val="200"/>
          </a:spcBef>
          <a:spcAft>
            <a:spcPts val="200"/>
          </a:spcAft>
          <a:defRPr sz="14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200"/>
          </a:spcBef>
          <a:spcAft>
            <a:spcPts val="200"/>
          </a:spcAft>
          <a:defRPr sz="1400" b="0" i="0" u="none" dirty="0" err="1"/>
        </a:defPPr>
      </a:lstStyle>
    </a:txDef>
  </a:objectDefaults>
  <a:extraClrSchemeLst/>
  <a:custClrLst>
    <a:custClr name="Custom Color 1">
      <a:srgbClr val="335A89"/>
    </a:custClr>
    <a:custClr name="Custom Color 2">
      <a:srgbClr val="33C6FF"/>
    </a:custClr>
    <a:custClr name="Custom Color 3">
      <a:srgbClr val="75A5FF"/>
    </a:custClr>
    <a:custClr name="Custom Color 4">
      <a:srgbClr val="F39433"/>
    </a:custClr>
    <a:custClr name="Custom Color 5">
      <a:srgbClr val="E87235"/>
    </a:custClr>
    <a:custClr name="Custom Color 6">
      <a:srgbClr val="33CC5D"/>
    </a:custClr>
    <a:custClr name="Custom Color 7">
      <a:srgbClr val="C1C1C1"/>
    </a:custClr>
    <a:custClr name="Custom Color 8">
      <a:srgbClr val="002551"/>
    </a:custClr>
    <a:custClr name="Custom Color 9">
      <a:srgbClr val="008ABF"/>
    </a:custClr>
    <a:custClr name="Custom Color 10">
      <a:srgbClr val="0058FD"/>
    </a:custClr>
    <a:custClr name="Custom Color 11">
      <a:srgbClr val="6683A7"/>
    </a:custClr>
    <a:custClr name="Custom Color 12">
      <a:srgbClr val="66D4FF"/>
    </a:custClr>
    <a:custClr name="Custom Color 13">
      <a:srgbClr val="98BCFF"/>
    </a:custClr>
    <a:custClr name="Custom Color 14">
      <a:srgbClr val="F6AF66"/>
    </a:custClr>
    <a:custClr name="Custom Color 15">
      <a:srgbClr val="EE9568"/>
    </a:custClr>
    <a:custClr name="Custom Color 16">
      <a:srgbClr val="66D986"/>
    </a:custClr>
    <a:custClr name="Custom Color 17">
      <a:srgbClr val="D0D0D0"/>
    </a:custClr>
    <a:custClr name="Custom Color 18">
      <a:srgbClr val="001836"/>
    </a:custClr>
    <a:custClr name="Custom Color 19">
      <a:srgbClr val="005C7F"/>
    </a:custClr>
    <a:custClr name="Custom Color 20">
      <a:srgbClr val="003BA9"/>
    </a:custClr>
    <a:custClr name="Custom Color 21">
      <a:srgbClr val="99ADC4"/>
    </a:custClr>
    <a:custClr name="Custom Color 22">
      <a:srgbClr val="99E3FF"/>
    </a:custClr>
    <a:custClr name="Custom Color 23">
      <a:srgbClr val="BAD2FF"/>
    </a:custClr>
    <a:custClr name="Custom Color 24">
      <a:srgbClr val="F9C999"/>
    </a:custClr>
    <a:custClr name="Custom Color 25">
      <a:srgbClr val="F3B99A"/>
    </a:custClr>
    <a:custClr name="Custom Color 26">
      <a:srgbClr val="99E5AE"/>
    </a:custClr>
    <a:custClr name="Custom Color 27">
      <a:srgbClr val="E0E0E0"/>
    </a:custClr>
    <a:custClr name="Custom Color 28">
      <a:srgbClr val="B45B00"/>
    </a:custClr>
    <a:custClr name="Custom Color 29">
      <a:srgbClr val="A93B02"/>
    </a:custClr>
    <a:custClr name="Custom Color 30">
      <a:srgbClr val="008F28"/>
    </a:custClr>
    <a:custClr name="Custom Color 31">
      <a:srgbClr val="CCD6E2"/>
    </a:custClr>
    <a:custClr name="Custom Color 32">
      <a:srgbClr val="CCF1FF"/>
    </a:custClr>
    <a:custClr name="Custom Color 33">
      <a:srgbClr val="DDE9FF"/>
    </a:custClr>
    <a:custClr name="Custom Color 34">
      <a:srgbClr val="FCE4CC"/>
    </a:custClr>
    <a:custClr name="Custom Color 35">
      <a:srgbClr val="F9DCCD"/>
    </a:custClr>
    <a:custClr name="Custom Color 36">
      <a:srgbClr val="CCF2D7"/>
    </a:custClr>
    <a:custClr name="Custom Color 37">
      <a:srgbClr val="EFEFEF"/>
    </a:custClr>
    <a:custClr name="Custom Color 38">
      <a:srgbClr val="783C00"/>
    </a:custClr>
    <a:custClr name="Custom Color 39">
      <a:srgbClr val="712701"/>
    </a:custClr>
    <a:custClr name="Custom Color 40">
      <a:srgbClr val="00601A"/>
    </a:custClr>
    <a:custClr name="Custom Color 41">
      <a:srgbClr val="E5EAF0"/>
    </a:custClr>
    <a:custClr name="Custom Color 42">
      <a:srgbClr val="E5F8FF"/>
    </a:custClr>
    <a:custClr name="Custom Color 43">
      <a:srgbClr val="EDF4FF"/>
    </a:custClr>
    <a:custClr name="Custom Color 44">
      <a:srgbClr val="FDF1E5"/>
    </a:custClr>
    <a:custClr name="Custom Color 45">
      <a:srgbClr val="FCEDE5"/>
    </a:custClr>
    <a:custClr name="Custom Color 46">
      <a:srgbClr val="E5F8EA"/>
    </a:custClr>
    <a:custClr name="Custom Color 47">
      <a:srgbClr val="F7F7F7"/>
    </a:custClr>
    <a:custClr name="Custom Color 48">
      <a:srgbClr val="8A8A8A"/>
    </a:custClr>
    <a:custClr name="Custom Color 49">
      <a:srgbClr val="727272"/>
    </a:custClr>
    <a:custClr name="Custom Color 50">
      <a:srgbClr val="EDFCFF"/>
    </a:custClr>
  </a:custClrLst>
  <a:extLst>
    <a:ext uri="{05A4C25C-085E-4340-85A3-A5531E510DB2}">
      <thm15:themeFamily xmlns:thm15="http://schemas.microsoft.com/office/thememl/2012/main" name="Default Theme.pptx" id="{1141D62A-AE26-41BA-97C6-08BA11848C4F}" vid="{EA2102BD-03F6-4B81-AB0C-5CC0C5929E1E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7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7608E4F-ED40-4596-880A-AAEE511A361E}">
  <we:reference id="wa104381063" version="1.0.0.1" store="en-US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f016a47-d9d6-430c-863f-c309e8140729">
      <Terms xmlns="http://schemas.microsoft.com/office/infopath/2007/PartnerControls"/>
    </lcf76f155ced4ddcb4097134ff3c332f>
    <TaxCatchAll xmlns="e8f9acd8-fb62-4995-a82a-24ec5031e48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F9B7A738928449ADDD596720060256" ma:contentTypeVersion="21" ma:contentTypeDescription="Create a new document." ma:contentTypeScope="" ma:versionID="000884a3c69ff006db86ad685c25f81f">
  <xsd:schema xmlns:xsd="http://www.w3.org/2001/XMLSchema" xmlns:xs="http://www.w3.org/2001/XMLSchema" xmlns:p="http://schemas.microsoft.com/office/2006/metadata/properties" xmlns:ns2="6f016a47-d9d6-430c-863f-c309e8140729" xmlns:ns3="e8f9acd8-fb62-4995-a82a-24ec5031e480" targetNamespace="http://schemas.microsoft.com/office/2006/metadata/properties" ma:root="true" ma:fieldsID="0bbdf55f21164155c7a96befb6fbd8db" ns2:_="" ns3:_="">
    <xsd:import namespace="6f016a47-d9d6-430c-863f-c309e8140729"/>
    <xsd:import namespace="e8f9acd8-fb62-4995-a82a-24ec5031e48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3:TaxCatchAll" minOccurs="0"/>
                <xsd:element ref="ns2:lcf76f155ced4ddcb4097134ff3c332f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016a47-d9d6-430c-863f-c309e814072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b1a50ad6-ef49-41ed-9a30-1c034c54fb5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f9acd8-fb62-4995-a82a-24ec5031e480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583ed61b-adf1-4161-9a62-5a2b94527958}" ma:internalName="TaxCatchAll" ma:showField="CatchAllData" ma:web="e8f9acd8-fb62-4995-a82a-24ec5031e48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0D2CC91-213B-4CEF-9FD0-F290108A46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810A553-6313-48B0-A676-C6C06091A5E4}">
  <ds:schemaRefs>
    <ds:schemaRef ds:uri="6f016a47-d9d6-430c-863f-c309e8140729"/>
    <ds:schemaRef ds:uri="91e721af-9f87-451a-945b-28d867b530e3"/>
    <ds:schemaRef ds:uri="b4b0e703-4ab4-44f8-966d-9267eedce79c"/>
    <ds:schemaRef ds:uri="e8f9acd8-fb62-4995-a82a-24ec5031e48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9F67403-0BF6-4429-A76B-D6959494BD2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f016a47-d9d6-430c-863f-c309e8140729"/>
    <ds:schemaRef ds:uri="e8f9acd8-fb62-4995-a82a-24ec5031e4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723</Words>
  <Application>Microsoft Office PowerPoint</Application>
  <PresentationFormat>Widescreen</PresentationFormat>
  <Paragraphs>165</Paragraphs>
  <Slides>13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3</vt:i4>
      </vt:variant>
    </vt:vector>
  </HeadingPairs>
  <TitlesOfParts>
    <vt:vector size="29" baseType="lpstr">
      <vt:lpstr>ADLaM Display</vt:lpstr>
      <vt:lpstr>Aptos</vt:lpstr>
      <vt:lpstr>Arial</vt:lpstr>
      <vt:lpstr>Century Gothic</vt:lpstr>
      <vt:lpstr>Courier New</vt:lpstr>
      <vt:lpstr>Lato Light</vt:lpstr>
      <vt:lpstr>Segoe UI</vt:lpstr>
      <vt:lpstr>Segoe UI Light</vt:lpstr>
      <vt:lpstr>Segoe UI Semibold</vt:lpstr>
      <vt:lpstr>Segoe UI Semilight</vt:lpstr>
      <vt:lpstr>Symbol</vt:lpstr>
      <vt:lpstr>Times New Roman</vt:lpstr>
      <vt:lpstr>Wingdings</vt:lpstr>
      <vt:lpstr>empower express</vt:lpstr>
      <vt:lpstr>empower express</vt:lpstr>
      <vt:lpstr>empower express</vt:lpstr>
      <vt:lpstr>Branding concerns and issues</vt:lpstr>
      <vt:lpstr>How can I ensure users stay on brand and use the correct templates, fonts and colors?</vt:lpstr>
      <vt:lpstr>PowerPoint Presentation</vt:lpstr>
      <vt:lpstr>Four tools to protect and promote your brand</vt:lpstr>
      <vt:lpstr>empower tools that can help with branding | 1 of 4</vt:lpstr>
      <vt:lpstr>empower tools that can help with branding | 2 of 4</vt:lpstr>
      <vt:lpstr>empower tools that can help with branding | 3 of 4</vt:lpstr>
      <vt:lpstr>empower tools that can help with branding | 4 of 4</vt:lpstr>
      <vt:lpstr>PowerPoint Presentation</vt:lpstr>
      <vt:lpstr>PowerPoint Presentation</vt:lpstr>
      <vt:lpstr>Next steps for learning</vt:lpstr>
      <vt:lpstr>This slide is to test the design check tool</vt:lpstr>
      <vt:lpstr>This is a slide to test out ‘Apply formats’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eorgina</dc:creator>
  <cp:lastModifiedBy>Georgina Manzi</cp:lastModifiedBy>
  <cp:revision>3</cp:revision>
  <dcterms:created xsi:type="dcterms:W3CDTF">2024-07-31T16:06:49Z</dcterms:created>
  <dcterms:modified xsi:type="dcterms:W3CDTF">2025-08-19T11:32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AFF9B7A738928449ADDD596720060256</vt:lpwstr>
  </property>
</Properties>
</file>